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4"/>
  </p:notesMasterIdLst>
  <p:handoutMasterIdLst>
    <p:handoutMasterId r:id="rId15"/>
  </p:handoutMasterIdLst>
  <p:sldIdLst>
    <p:sldId id="343" r:id="rId5"/>
    <p:sldId id="258" r:id="rId6"/>
    <p:sldId id="259" r:id="rId7"/>
    <p:sldId id="260" r:id="rId8"/>
    <p:sldId id="344" r:id="rId9"/>
    <p:sldId id="346" r:id="rId10"/>
    <p:sldId id="347" r:id="rId11"/>
    <p:sldId id="348" r:id="rId12"/>
    <p:sldId id="332" r:id="rId1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4E66"/>
    <a:srgbClr val="959595"/>
    <a:srgbClr val="3874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938F451-E276-4168-A062-517FEF5D1A77}" v="955" dt="2019-12-08T20:41:12.70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20" d="100"/>
          <a:sy n="120" d="100"/>
        </p:scale>
        <p:origin x="19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3840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ssyl Cacho" userId="23b0b4d42ae596b9" providerId="LiveId" clId="{1938F451-E276-4168-A062-517FEF5D1A77}"/>
    <pc:docChg chg="undo custSel addSld delSld modSld sldOrd modMainMaster">
      <pc:chgData name="Jessyl Cacho" userId="23b0b4d42ae596b9" providerId="LiveId" clId="{1938F451-E276-4168-A062-517FEF5D1A77}" dt="2019-12-08T20:41:12.709" v="914" actId="20577"/>
      <pc:docMkLst>
        <pc:docMk/>
      </pc:docMkLst>
      <pc:sldChg chg="del">
        <pc:chgData name="Jessyl Cacho" userId="23b0b4d42ae596b9" providerId="LiveId" clId="{1938F451-E276-4168-A062-517FEF5D1A77}" dt="2019-12-08T19:31:43.612" v="116" actId="47"/>
        <pc:sldMkLst>
          <pc:docMk/>
          <pc:sldMk cId="447977911" sldId="256"/>
        </pc:sldMkLst>
      </pc:sldChg>
      <pc:sldChg chg="addSp delSp modSp">
        <pc:chgData name="Jessyl Cacho" userId="23b0b4d42ae596b9" providerId="LiveId" clId="{1938F451-E276-4168-A062-517FEF5D1A77}" dt="2019-12-08T20:32:30.818" v="780" actId="14100"/>
        <pc:sldMkLst>
          <pc:docMk/>
          <pc:sldMk cId="672894034" sldId="257"/>
        </pc:sldMkLst>
        <pc:spChg chg="del">
          <ac:chgData name="Jessyl Cacho" userId="23b0b4d42ae596b9" providerId="LiveId" clId="{1938F451-E276-4168-A062-517FEF5D1A77}" dt="2019-12-08T19:02:18.889" v="0" actId="478"/>
          <ac:spMkLst>
            <pc:docMk/>
            <pc:sldMk cId="672894034" sldId="257"/>
            <ac:spMk id="2" creationId="{33C69471-8AC8-4C02-B6D4-E92456EEE9D0}"/>
          </ac:spMkLst>
        </pc:spChg>
        <pc:spChg chg="mod">
          <ac:chgData name="Jessyl Cacho" userId="23b0b4d42ae596b9" providerId="LiveId" clId="{1938F451-E276-4168-A062-517FEF5D1A77}" dt="2019-12-08T20:31:48.941" v="769" actId="14100"/>
          <ac:spMkLst>
            <pc:docMk/>
            <pc:sldMk cId="672894034" sldId="257"/>
            <ac:spMk id="3" creationId="{1D5CA45C-2835-43DA-BEE5-C87CE633DBCA}"/>
          </ac:spMkLst>
        </pc:spChg>
        <pc:spChg chg="add mod ord">
          <ac:chgData name="Jessyl Cacho" userId="23b0b4d42ae596b9" providerId="LiveId" clId="{1938F451-E276-4168-A062-517FEF5D1A77}" dt="2019-12-08T20:32:30.818" v="780" actId="14100"/>
          <ac:spMkLst>
            <pc:docMk/>
            <pc:sldMk cId="672894034" sldId="257"/>
            <ac:spMk id="4" creationId="{A32B54E7-77A7-47E9-8E7C-9186EF9DDEDD}"/>
          </ac:spMkLst>
        </pc:spChg>
        <pc:spChg chg="add mod ord">
          <ac:chgData name="Jessyl Cacho" userId="23b0b4d42ae596b9" providerId="LiveId" clId="{1938F451-E276-4168-A062-517FEF5D1A77}" dt="2019-12-08T20:32:27.186" v="779" actId="14100"/>
          <ac:spMkLst>
            <pc:docMk/>
            <pc:sldMk cId="672894034" sldId="257"/>
            <ac:spMk id="5" creationId="{6DD7C87E-47DB-400C-8A7D-95857400C13F}"/>
          </ac:spMkLst>
        </pc:spChg>
      </pc:sldChg>
      <pc:sldChg chg="addSp delSp modSp">
        <pc:chgData name="Jessyl Cacho" userId="23b0b4d42ae596b9" providerId="LiveId" clId="{1938F451-E276-4168-A062-517FEF5D1A77}" dt="2019-12-08T19:47:29.865" v="299" actId="1076"/>
        <pc:sldMkLst>
          <pc:docMk/>
          <pc:sldMk cId="1592169478" sldId="258"/>
        </pc:sldMkLst>
        <pc:spChg chg="mod">
          <ac:chgData name="Jessyl Cacho" userId="23b0b4d42ae596b9" providerId="LiveId" clId="{1938F451-E276-4168-A062-517FEF5D1A77}" dt="2019-12-08T19:47:29.865" v="299" actId="1076"/>
          <ac:spMkLst>
            <pc:docMk/>
            <pc:sldMk cId="1592169478" sldId="258"/>
            <ac:spMk id="2" creationId="{AE37BEF3-1368-40C3-B40D-D17B8BBC1F96}"/>
          </ac:spMkLst>
        </pc:spChg>
        <pc:spChg chg="add del mod">
          <ac:chgData name="Jessyl Cacho" userId="23b0b4d42ae596b9" providerId="LiveId" clId="{1938F451-E276-4168-A062-517FEF5D1A77}" dt="2019-12-08T19:41:36.898" v="222"/>
          <ac:spMkLst>
            <pc:docMk/>
            <pc:sldMk cId="1592169478" sldId="258"/>
            <ac:spMk id="3" creationId="{4128051A-CF42-4073-91BF-8A9C479FABD2}"/>
          </ac:spMkLst>
        </pc:spChg>
        <pc:spChg chg="add del mod">
          <ac:chgData name="Jessyl Cacho" userId="23b0b4d42ae596b9" providerId="LiveId" clId="{1938F451-E276-4168-A062-517FEF5D1A77}" dt="2019-12-08T19:41:36.898" v="222"/>
          <ac:spMkLst>
            <pc:docMk/>
            <pc:sldMk cId="1592169478" sldId="258"/>
            <ac:spMk id="4" creationId="{B1B1E0F7-D605-4C45-B52A-8768B9079670}"/>
          </ac:spMkLst>
        </pc:spChg>
        <pc:spChg chg="add mod">
          <ac:chgData name="Jessyl Cacho" userId="23b0b4d42ae596b9" providerId="LiveId" clId="{1938F451-E276-4168-A062-517FEF5D1A77}" dt="2019-12-08T19:45:24.074" v="274" actId="1076"/>
          <ac:spMkLst>
            <pc:docMk/>
            <pc:sldMk cId="1592169478" sldId="258"/>
            <ac:spMk id="6" creationId="{EDD1840B-A7FA-42C6-AE8F-2388AB603555}"/>
          </ac:spMkLst>
        </pc:spChg>
        <pc:spChg chg="add del mod">
          <ac:chgData name="Jessyl Cacho" userId="23b0b4d42ae596b9" providerId="LiveId" clId="{1938F451-E276-4168-A062-517FEF5D1A77}" dt="2019-12-08T19:41:52.409" v="227"/>
          <ac:spMkLst>
            <pc:docMk/>
            <pc:sldMk cId="1592169478" sldId="258"/>
            <ac:spMk id="8" creationId="{37E8D6D3-F7F0-4620-A08A-68A89E24DCE1}"/>
          </ac:spMkLst>
        </pc:spChg>
        <pc:spChg chg="add del mod">
          <ac:chgData name="Jessyl Cacho" userId="23b0b4d42ae596b9" providerId="LiveId" clId="{1938F451-E276-4168-A062-517FEF5D1A77}" dt="2019-12-08T19:42:06.153" v="231"/>
          <ac:spMkLst>
            <pc:docMk/>
            <pc:sldMk cId="1592169478" sldId="258"/>
            <ac:spMk id="9" creationId="{73AABE47-A59A-4683-B768-5B370094D4AA}"/>
          </ac:spMkLst>
        </pc:spChg>
        <pc:spChg chg="add del mod">
          <ac:chgData name="Jessyl Cacho" userId="23b0b4d42ae596b9" providerId="LiveId" clId="{1938F451-E276-4168-A062-517FEF5D1A77}" dt="2019-12-08T19:41:24.354" v="219" actId="478"/>
          <ac:spMkLst>
            <pc:docMk/>
            <pc:sldMk cId="1592169478" sldId="258"/>
            <ac:spMk id="10" creationId="{3B1BBE1C-BDA7-4749-AF32-AAD0FA00B33E}"/>
          </ac:spMkLst>
        </pc:spChg>
        <pc:spChg chg="mod">
          <ac:chgData name="Jessyl Cacho" userId="23b0b4d42ae596b9" providerId="LiveId" clId="{1938F451-E276-4168-A062-517FEF5D1A77}" dt="2019-12-08T19:42:10.315" v="232" actId="164"/>
          <ac:spMkLst>
            <pc:docMk/>
            <pc:sldMk cId="1592169478" sldId="258"/>
            <ac:spMk id="11" creationId="{A9A3EC2A-B223-476B-9D73-F9A0869CFCE7}"/>
          </ac:spMkLst>
        </pc:spChg>
        <pc:spChg chg="add del mod">
          <ac:chgData name="Jessyl Cacho" userId="23b0b4d42ae596b9" providerId="LiveId" clId="{1938F451-E276-4168-A062-517FEF5D1A77}" dt="2019-12-08T19:41:52.409" v="227"/>
          <ac:spMkLst>
            <pc:docMk/>
            <pc:sldMk cId="1592169478" sldId="258"/>
            <ac:spMk id="12" creationId="{E2530832-5D95-4621-98F0-3B8EAAE0F69A}"/>
          </ac:spMkLst>
        </pc:spChg>
        <pc:spChg chg="mod">
          <ac:chgData name="Jessyl Cacho" userId="23b0b4d42ae596b9" providerId="LiveId" clId="{1938F451-E276-4168-A062-517FEF5D1A77}" dt="2019-12-08T19:42:10.315" v="232" actId="164"/>
          <ac:spMkLst>
            <pc:docMk/>
            <pc:sldMk cId="1592169478" sldId="258"/>
            <ac:spMk id="13" creationId="{6B86AB93-429E-4204-9FBF-610800D857FB}"/>
          </ac:spMkLst>
        </pc:spChg>
        <pc:spChg chg="add del mod">
          <ac:chgData name="Jessyl Cacho" userId="23b0b4d42ae596b9" providerId="LiveId" clId="{1938F451-E276-4168-A062-517FEF5D1A77}" dt="2019-12-08T19:42:06.153" v="231"/>
          <ac:spMkLst>
            <pc:docMk/>
            <pc:sldMk cId="1592169478" sldId="258"/>
            <ac:spMk id="14" creationId="{8D4D1A64-19D2-4DDB-80CB-91F627B3D500}"/>
          </ac:spMkLst>
        </pc:spChg>
        <pc:spChg chg="mod">
          <ac:chgData name="Jessyl Cacho" userId="23b0b4d42ae596b9" providerId="LiveId" clId="{1938F451-E276-4168-A062-517FEF5D1A77}" dt="2019-12-08T19:42:10.315" v="232" actId="164"/>
          <ac:spMkLst>
            <pc:docMk/>
            <pc:sldMk cId="1592169478" sldId="258"/>
            <ac:spMk id="15" creationId="{23B43C68-1B7B-4A08-AE6B-FECE57FA08D2}"/>
          </ac:spMkLst>
        </pc:spChg>
        <pc:grpChg chg="add mod">
          <ac:chgData name="Jessyl Cacho" userId="23b0b4d42ae596b9" providerId="LiveId" clId="{1938F451-E276-4168-A062-517FEF5D1A77}" dt="2019-12-08T19:42:50.227" v="246" actId="14100"/>
          <ac:grpSpMkLst>
            <pc:docMk/>
            <pc:sldMk cId="1592169478" sldId="258"/>
            <ac:grpSpMk id="16" creationId="{E4D87B7A-D600-4F15-B656-1A8CA21C387F}"/>
          </ac:grpSpMkLst>
        </pc:grpChg>
        <pc:picChg chg="mod ord">
          <ac:chgData name="Jessyl Cacho" userId="23b0b4d42ae596b9" providerId="LiveId" clId="{1938F451-E276-4168-A062-517FEF5D1A77}" dt="2019-12-08T19:43:17.491" v="249" actId="1076"/>
          <ac:picMkLst>
            <pc:docMk/>
            <pc:sldMk cId="1592169478" sldId="258"/>
            <ac:picMk id="5" creationId="{C7FBF64C-1EE6-4945-8078-B7DB2570A295}"/>
          </ac:picMkLst>
        </pc:picChg>
        <pc:picChg chg="mod ord">
          <ac:chgData name="Jessyl Cacho" userId="23b0b4d42ae596b9" providerId="LiveId" clId="{1938F451-E276-4168-A062-517FEF5D1A77}" dt="2019-12-08T19:43:00.979" v="248" actId="1076"/>
          <ac:picMkLst>
            <pc:docMk/>
            <pc:sldMk cId="1592169478" sldId="258"/>
            <ac:picMk id="7" creationId="{657D647A-CB39-44F2-B38F-11DEDFE768FE}"/>
          </ac:picMkLst>
        </pc:picChg>
      </pc:sldChg>
      <pc:sldChg chg="addSp delSp modSp">
        <pc:chgData name="Jessyl Cacho" userId="23b0b4d42ae596b9" providerId="LiveId" clId="{1938F451-E276-4168-A062-517FEF5D1A77}" dt="2019-12-08T20:15:45.154" v="594" actId="478"/>
        <pc:sldMkLst>
          <pc:docMk/>
          <pc:sldMk cId="2839633131" sldId="259"/>
        </pc:sldMkLst>
        <pc:spChg chg="mod">
          <ac:chgData name="Jessyl Cacho" userId="23b0b4d42ae596b9" providerId="LiveId" clId="{1938F451-E276-4168-A062-517FEF5D1A77}" dt="2019-12-08T20:00:31.932" v="450" actId="403"/>
          <ac:spMkLst>
            <pc:docMk/>
            <pc:sldMk cId="2839633131" sldId="259"/>
            <ac:spMk id="2" creationId="{E26BA7F8-D68C-4DA7-A5F4-BC7D3F587251}"/>
          </ac:spMkLst>
        </pc:spChg>
        <pc:spChg chg="add mod">
          <ac:chgData name="Jessyl Cacho" userId="23b0b4d42ae596b9" providerId="LiveId" clId="{1938F451-E276-4168-A062-517FEF5D1A77}" dt="2019-12-08T19:49:19.216" v="314" actId="14100"/>
          <ac:spMkLst>
            <pc:docMk/>
            <pc:sldMk cId="2839633131" sldId="259"/>
            <ac:spMk id="3" creationId="{4749C08B-2901-4AA2-B430-CCB3539378C9}"/>
          </ac:spMkLst>
        </pc:spChg>
        <pc:spChg chg="add mod">
          <ac:chgData name="Jessyl Cacho" userId="23b0b4d42ae596b9" providerId="LiveId" clId="{1938F451-E276-4168-A062-517FEF5D1A77}" dt="2019-12-08T19:44:25.051" v="257" actId="1076"/>
          <ac:spMkLst>
            <pc:docMk/>
            <pc:sldMk cId="2839633131" sldId="259"/>
            <ac:spMk id="8" creationId="{8A4569A8-67E0-460A-8485-93A32837B9CE}"/>
          </ac:spMkLst>
        </pc:spChg>
        <pc:spChg chg="add mod ord">
          <ac:chgData name="Jessyl Cacho" userId="23b0b4d42ae596b9" providerId="LiveId" clId="{1938F451-E276-4168-A062-517FEF5D1A77}" dt="2019-12-08T19:50:48.863" v="340" actId="1076"/>
          <ac:spMkLst>
            <pc:docMk/>
            <pc:sldMk cId="2839633131" sldId="259"/>
            <ac:spMk id="9" creationId="{DAE8A3B0-5E97-4F3D-8BCB-E687E5F59186}"/>
          </ac:spMkLst>
        </pc:spChg>
        <pc:spChg chg="add mod">
          <ac:chgData name="Jessyl Cacho" userId="23b0b4d42ae596b9" providerId="LiveId" clId="{1938F451-E276-4168-A062-517FEF5D1A77}" dt="2019-12-08T19:51:20.136" v="347" actId="1076"/>
          <ac:spMkLst>
            <pc:docMk/>
            <pc:sldMk cId="2839633131" sldId="259"/>
            <ac:spMk id="10" creationId="{2C05C31D-9DDE-44A5-8F19-7E84C70BAEC3}"/>
          </ac:spMkLst>
        </pc:spChg>
        <pc:spChg chg="add mod">
          <ac:chgData name="Jessyl Cacho" userId="23b0b4d42ae596b9" providerId="LiveId" clId="{1938F451-E276-4168-A062-517FEF5D1A77}" dt="2019-12-08T19:52:07.183" v="361" actId="1076"/>
          <ac:spMkLst>
            <pc:docMk/>
            <pc:sldMk cId="2839633131" sldId="259"/>
            <ac:spMk id="11" creationId="{E6D2F38B-EBAB-4DEE-B200-A1C2E2136B79}"/>
          </ac:spMkLst>
        </pc:spChg>
        <pc:picChg chg="mod ord">
          <ac:chgData name="Jessyl Cacho" userId="23b0b4d42ae596b9" providerId="LiveId" clId="{1938F451-E276-4168-A062-517FEF5D1A77}" dt="2019-12-08T19:50:40.584" v="337" actId="1076"/>
          <ac:picMkLst>
            <pc:docMk/>
            <pc:sldMk cId="2839633131" sldId="259"/>
            <ac:picMk id="4" creationId="{920517D2-9EEC-479F-B00B-6C521D185EB8}"/>
          </ac:picMkLst>
        </pc:picChg>
        <pc:picChg chg="mod ord">
          <ac:chgData name="Jessyl Cacho" userId="23b0b4d42ae596b9" providerId="LiveId" clId="{1938F451-E276-4168-A062-517FEF5D1A77}" dt="2019-12-08T19:51:05.040" v="345" actId="1076"/>
          <ac:picMkLst>
            <pc:docMk/>
            <pc:sldMk cId="2839633131" sldId="259"/>
            <ac:picMk id="5" creationId="{038B8397-B965-498E-892E-E5E08A0E16E4}"/>
          </ac:picMkLst>
        </pc:picChg>
        <pc:picChg chg="mod ord">
          <ac:chgData name="Jessyl Cacho" userId="23b0b4d42ae596b9" providerId="LiveId" clId="{1938F451-E276-4168-A062-517FEF5D1A77}" dt="2019-12-08T19:51:55.295" v="357" actId="1076"/>
          <ac:picMkLst>
            <pc:docMk/>
            <pc:sldMk cId="2839633131" sldId="259"/>
            <ac:picMk id="6" creationId="{8A2BD587-124B-4CBF-BDA2-A6FE526F2125}"/>
          </ac:picMkLst>
        </pc:picChg>
        <pc:picChg chg="mod ord">
          <ac:chgData name="Jessyl Cacho" userId="23b0b4d42ae596b9" providerId="LiveId" clId="{1938F451-E276-4168-A062-517FEF5D1A77}" dt="2019-12-08T19:52:35.326" v="373" actId="1076"/>
          <ac:picMkLst>
            <pc:docMk/>
            <pc:sldMk cId="2839633131" sldId="259"/>
            <ac:picMk id="7" creationId="{F0D33238-1DE8-4B07-BEE0-8DB55B71F679}"/>
          </ac:picMkLst>
        </pc:picChg>
        <pc:cxnChg chg="add del mod">
          <ac:chgData name="Jessyl Cacho" userId="23b0b4d42ae596b9" providerId="LiveId" clId="{1938F451-E276-4168-A062-517FEF5D1A77}" dt="2019-12-08T20:15:45.154" v="594" actId="478"/>
          <ac:cxnSpMkLst>
            <pc:docMk/>
            <pc:sldMk cId="2839633131" sldId="259"/>
            <ac:cxnSpMk id="13" creationId="{256F8E4C-06D8-41A4-96DB-9F15C8CA5C27}"/>
          </ac:cxnSpMkLst>
        </pc:cxnChg>
        <pc:cxnChg chg="add del mod">
          <ac:chgData name="Jessyl Cacho" userId="23b0b4d42ae596b9" providerId="LiveId" clId="{1938F451-E276-4168-A062-517FEF5D1A77}" dt="2019-12-08T20:15:43.089" v="592" actId="478"/>
          <ac:cxnSpMkLst>
            <pc:docMk/>
            <pc:sldMk cId="2839633131" sldId="259"/>
            <ac:cxnSpMk id="15" creationId="{F4EA4A68-BDC5-479F-8DA5-2FC1C524D7AE}"/>
          </ac:cxnSpMkLst>
        </pc:cxnChg>
        <pc:cxnChg chg="add del mod">
          <ac:chgData name="Jessyl Cacho" userId="23b0b4d42ae596b9" providerId="LiveId" clId="{1938F451-E276-4168-A062-517FEF5D1A77}" dt="2019-12-08T20:15:44.074" v="593" actId="478"/>
          <ac:cxnSpMkLst>
            <pc:docMk/>
            <pc:sldMk cId="2839633131" sldId="259"/>
            <ac:cxnSpMk id="19" creationId="{68F6C535-9D09-4191-AD97-F6023F17AB2F}"/>
          </ac:cxnSpMkLst>
        </pc:cxnChg>
      </pc:sldChg>
      <pc:sldChg chg="addSp delSp modSp">
        <pc:chgData name="Jessyl Cacho" userId="23b0b4d42ae596b9" providerId="LiveId" clId="{1938F451-E276-4168-A062-517FEF5D1A77}" dt="2019-12-08T19:57:27.986" v="413" actId="167"/>
        <pc:sldMkLst>
          <pc:docMk/>
          <pc:sldMk cId="3793248919" sldId="260"/>
        </pc:sldMkLst>
        <pc:spChg chg="del">
          <ac:chgData name="Jessyl Cacho" userId="23b0b4d42ae596b9" providerId="LiveId" clId="{1938F451-E276-4168-A062-517FEF5D1A77}" dt="2019-12-08T19:52:56.461" v="374" actId="478"/>
          <ac:spMkLst>
            <pc:docMk/>
            <pc:sldMk cId="3793248919" sldId="260"/>
            <ac:spMk id="2" creationId="{636BC2DA-543A-4754-8123-A3D407C019A7}"/>
          </ac:spMkLst>
        </pc:spChg>
        <pc:picChg chg="mod">
          <ac:chgData name="Jessyl Cacho" userId="23b0b4d42ae596b9" providerId="LiveId" clId="{1938F451-E276-4168-A062-517FEF5D1A77}" dt="2019-12-08T19:54:13.488" v="381" actId="1582"/>
          <ac:picMkLst>
            <pc:docMk/>
            <pc:sldMk cId="3793248919" sldId="260"/>
            <ac:picMk id="4" creationId="{48235855-A1BF-47F0-A68E-394C043DC7B1}"/>
          </ac:picMkLst>
        </pc:picChg>
        <pc:cxnChg chg="add mod ord">
          <ac:chgData name="Jessyl Cacho" userId="23b0b4d42ae596b9" providerId="LiveId" clId="{1938F451-E276-4168-A062-517FEF5D1A77}" dt="2019-12-08T19:56:50.197" v="408" actId="14100"/>
          <ac:cxnSpMkLst>
            <pc:docMk/>
            <pc:sldMk cId="3793248919" sldId="260"/>
            <ac:cxnSpMk id="5" creationId="{F753E6FC-041A-4DAE-9137-632D9F3F5048}"/>
          </ac:cxnSpMkLst>
        </pc:cxnChg>
        <pc:cxnChg chg="add mod ord">
          <ac:chgData name="Jessyl Cacho" userId="23b0b4d42ae596b9" providerId="LiveId" clId="{1938F451-E276-4168-A062-517FEF5D1A77}" dt="2019-12-08T19:57:15.363" v="409" actId="167"/>
          <ac:cxnSpMkLst>
            <pc:docMk/>
            <pc:sldMk cId="3793248919" sldId="260"/>
            <ac:cxnSpMk id="7" creationId="{B9FD41BE-235E-4D34-945B-FC0F1936EEA5}"/>
          </ac:cxnSpMkLst>
        </pc:cxnChg>
        <pc:cxnChg chg="add mod ord">
          <ac:chgData name="Jessyl Cacho" userId="23b0b4d42ae596b9" providerId="LiveId" clId="{1938F451-E276-4168-A062-517FEF5D1A77}" dt="2019-12-08T19:57:18.251" v="410" actId="167"/>
          <ac:cxnSpMkLst>
            <pc:docMk/>
            <pc:sldMk cId="3793248919" sldId="260"/>
            <ac:cxnSpMk id="8" creationId="{A4905A75-1DC5-4120-A401-C433E8BEBA49}"/>
          </ac:cxnSpMkLst>
        </pc:cxnChg>
        <pc:cxnChg chg="add mod ord">
          <ac:chgData name="Jessyl Cacho" userId="23b0b4d42ae596b9" providerId="LiveId" clId="{1938F451-E276-4168-A062-517FEF5D1A77}" dt="2019-12-08T19:56:01.309" v="395" actId="167"/>
          <ac:cxnSpMkLst>
            <pc:docMk/>
            <pc:sldMk cId="3793248919" sldId="260"/>
            <ac:cxnSpMk id="9" creationId="{CB5C1244-CF80-46E5-A263-5B709B1E89FB}"/>
          </ac:cxnSpMkLst>
        </pc:cxnChg>
        <pc:cxnChg chg="add mod ord">
          <ac:chgData name="Jessyl Cacho" userId="23b0b4d42ae596b9" providerId="LiveId" clId="{1938F451-E276-4168-A062-517FEF5D1A77}" dt="2019-12-08T19:57:21.187" v="411" actId="167"/>
          <ac:cxnSpMkLst>
            <pc:docMk/>
            <pc:sldMk cId="3793248919" sldId="260"/>
            <ac:cxnSpMk id="10" creationId="{15C788AE-84E3-4BDE-8EEA-816DBE101EED}"/>
          </ac:cxnSpMkLst>
        </pc:cxnChg>
        <pc:cxnChg chg="add mod ord">
          <ac:chgData name="Jessyl Cacho" userId="23b0b4d42ae596b9" providerId="LiveId" clId="{1938F451-E276-4168-A062-517FEF5D1A77}" dt="2019-12-08T19:57:27.986" v="413" actId="167"/>
          <ac:cxnSpMkLst>
            <pc:docMk/>
            <pc:sldMk cId="3793248919" sldId="260"/>
            <ac:cxnSpMk id="11" creationId="{EAEE3A8B-4393-4FD4-A022-0DD57D473FCF}"/>
          </ac:cxnSpMkLst>
        </pc:cxnChg>
        <pc:cxnChg chg="add mod ord">
          <ac:chgData name="Jessyl Cacho" userId="23b0b4d42ae596b9" providerId="LiveId" clId="{1938F451-E276-4168-A062-517FEF5D1A77}" dt="2019-12-08T19:56:23.380" v="401" actId="167"/>
          <ac:cxnSpMkLst>
            <pc:docMk/>
            <pc:sldMk cId="3793248919" sldId="260"/>
            <ac:cxnSpMk id="12" creationId="{9D623977-8294-4E60-9179-EFAE83CCE71F}"/>
          </ac:cxnSpMkLst>
        </pc:cxnChg>
        <pc:cxnChg chg="add mod ord">
          <ac:chgData name="Jessyl Cacho" userId="23b0b4d42ae596b9" providerId="LiveId" clId="{1938F451-E276-4168-A062-517FEF5D1A77}" dt="2019-12-08T19:57:27.986" v="413" actId="167"/>
          <ac:cxnSpMkLst>
            <pc:docMk/>
            <pc:sldMk cId="3793248919" sldId="260"/>
            <ac:cxnSpMk id="14" creationId="{388A3020-0CF0-4C5F-BCE6-5C3BDF36CB47}"/>
          </ac:cxnSpMkLst>
        </pc:cxnChg>
        <pc:cxnChg chg="add mod ord">
          <ac:chgData name="Jessyl Cacho" userId="23b0b4d42ae596b9" providerId="LiveId" clId="{1938F451-E276-4168-A062-517FEF5D1A77}" dt="2019-12-08T19:57:27.986" v="413" actId="167"/>
          <ac:cxnSpMkLst>
            <pc:docMk/>
            <pc:sldMk cId="3793248919" sldId="260"/>
            <ac:cxnSpMk id="15" creationId="{3256344A-C6F2-4E38-9270-134440D8A7FD}"/>
          </ac:cxnSpMkLst>
        </pc:cxnChg>
        <pc:cxnChg chg="add mod ord">
          <ac:chgData name="Jessyl Cacho" userId="23b0b4d42ae596b9" providerId="LiveId" clId="{1938F451-E276-4168-A062-517FEF5D1A77}" dt="2019-12-08T19:56:41.091" v="406" actId="167"/>
          <ac:cxnSpMkLst>
            <pc:docMk/>
            <pc:sldMk cId="3793248919" sldId="260"/>
            <ac:cxnSpMk id="16" creationId="{73B238C2-96AA-4272-A66E-F665DDBC3A8E}"/>
          </ac:cxnSpMkLst>
        </pc:cxnChg>
      </pc:sldChg>
      <pc:sldChg chg="addSp delSp modSp del">
        <pc:chgData name="Jessyl Cacho" userId="23b0b4d42ae596b9" providerId="LiveId" clId="{1938F451-E276-4168-A062-517FEF5D1A77}" dt="2019-12-08T20:11:58.737" v="577" actId="47"/>
        <pc:sldMkLst>
          <pc:docMk/>
          <pc:sldMk cId="746598886" sldId="261"/>
        </pc:sldMkLst>
        <pc:spChg chg="mod">
          <ac:chgData name="Jessyl Cacho" userId="23b0b4d42ae596b9" providerId="LiveId" clId="{1938F451-E276-4168-A062-517FEF5D1A77}" dt="2019-12-08T20:00:24.019" v="446" actId="1076"/>
          <ac:spMkLst>
            <pc:docMk/>
            <pc:sldMk cId="746598886" sldId="261"/>
            <ac:spMk id="2" creationId="{C8F920D4-061E-4E2A-AA5C-7DC3A8AB7536}"/>
          </ac:spMkLst>
        </pc:spChg>
        <pc:spChg chg="add mod">
          <ac:chgData name="Jessyl Cacho" userId="23b0b4d42ae596b9" providerId="LiveId" clId="{1938F451-E276-4168-A062-517FEF5D1A77}" dt="2019-12-08T20:00:27.851" v="448" actId="1076"/>
          <ac:spMkLst>
            <pc:docMk/>
            <pc:sldMk cId="746598886" sldId="261"/>
            <ac:spMk id="12" creationId="{E7606983-C811-484F-8026-38839059D6EB}"/>
          </ac:spMkLst>
        </pc:spChg>
        <pc:picChg chg="del">
          <ac:chgData name="Jessyl Cacho" userId="23b0b4d42ae596b9" providerId="LiveId" clId="{1938F451-E276-4168-A062-517FEF5D1A77}" dt="2019-12-08T20:02:07.465" v="465" actId="478"/>
          <ac:picMkLst>
            <pc:docMk/>
            <pc:sldMk cId="746598886" sldId="261"/>
            <ac:picMk id="4" creationId="{92886E79-B082-42BB-B2A8-36FF7E9F381C}"/>
          </ac:picMkLst>
        </pc:picChg>
        <pc:picChg chg="del">
          <ac:chgData name="Jessyl Cacho" userId="23b0b4d42ae596b9" providerId="LiveId" clId="{1938F451-E276-4168-A062-517FEF5D1A77}" dt="2019-12-08T20:08:24.381" v="533" actId="478"/>
          <ac:picMkLst>
            <pc:docMk/>
            <pc:sldMk cId="746598886" sldId="261"/>
            <ac:picMk id="5" creationId="{40E811D1-3A87-4B39-9317-D3602E944DCD}"/>
          </ac:picMkLst>
        </pc:picChg>
        <pc:picChg chg="del">
          <ac:chgData name="Jessyl Cacho" userId="23b0b4d42ae596b9" providerId="LiveId" clId="{1938F451-E276-4168-A062-517FEF5D1A77}" dt="2019-12-08T20:02:48.816" v="476" actId="478"/>
          <ac:picMkLst>
            <pc:docMk/>
            <pc:sldMk cId="746598886" sldId="261"/>
            <ac:picMk id="8" creationId="{D6ED1E71-7C4B-4169-A81E-7B5510E6D06A}"/>
          </ac:picMkLst>
        </pc:picChg>
        <pc:picChg chg="del">
          <ac:chgData name="Jessyl Cacho" userId="23b0b4d42ae596b9" providerId="LiveId" clId="{1938F451-E276-4168-A062-517FEF5D1A77}" dt="2019-12-08T20:10:17.684" v="555" actId="478"/>
          <ac:picMkLst>
            <pc:docMk/>
            <pc:sldMk cId="746598886" sldId="261"/>
            <ac:picMk id="9" creationId="{6635154F-DDCE-4144-8F8B-4A8479C93400}"/>
          </ac:picMkLst>
        </pc:picChg>
        <pc:picChg chg="del">
          <ac:chgData name="Jessyl Cacho" userId="23b0b4d42ae596b9" providerId="LiveId" clId="{1938F451-E276-4168-A062-517FEF5D1A77}" dt="2019-12-08T20:03:25.728" v="488" actId="478"/>
          <ac:picMkLst>
            <pc:docMk/>
            <pc:sldMk cId="746598886" sldId="261"/>
            <ac:picMk id="10" creationId="{73EBC96B-84F5-46F5-A49E-4B894D198CD1}"/>
          </ac:picMkLst>
        </pc:picChg>
      </pc:sldChg>
      <pc:sldChg chg="modSp del">
        <pc:chgData name="Jessyl Cacho" userId="23b0b4d42ae596b9" providerId="LiveId" clId="{1938F451-E276-4168-A062-517FEF5D1A77}" dt="2019-12-08T20:29:50.497" v="742" actId="47"/>
        <pc:sldMkLst>
          <pc:docMk/>
          <pc:sldMk cId="596795346" sldId="262"/>
        </pc:sldMkLst>
        <pc:spChg chg="mod">
          <ac:chgData name="Jessyl Cacho" userId="23b0b4d42ae596b9" providerId="LiveId" clId="{1938F451-E276-4168-A062-517FEF5D1A77}" dt="2019-12-08T19:38:38.340" v="157" actId="27636"/>
          <ac:spMkLst>
            <pc:docMk/>
            <pc:sldMk cId="596795346" sldId="262"/>
            <ac:spMk id="2" creationId="{8DC22017-EEE1-46EE-8D51-9DB73F920E32}"/>
          </ac:spMkLst>
        </pc:spChg>
        <pc:spChg chg="mod">
          <ac:chgData name="Jessyl Cacho" userId="23b0b4d42ae596b9" providerId="LiveId" clId="{1938F451-E276-4168-A062-517FEF5D1A77}" dt="2019-12-08T20:12:28.629" v="578" actId="1076"/>
          <ac:spMkLst>
            <pc:docMk/>
            <pc:sldMk cId="596795346" sldId="262"/>
            <ac:spMk id="3" creationId="{90C39ECE-B9CF-42E1-818B-9486A526B6C2}"/>
          </ac:spMkLst>
        </pc:spChg>
        <pc:picChg chg="mod">
          <ac:chgData name="Jessyl Cacho" userId="23b0b4d42ae596b9" providerId="LiveId" clId="{1938F451-E276-4168-A062-517FEF5D1A77}" dt="2019-12-08T20:17:52.330" v="624" actId="1076"/>
          <ac:picMkLst>
            <pc:docMk/>
            <pc:sldMk cId="596795346" sldId="262"/>
            <ac:picMk id="4" creationId="{1ACA635E-CF27-49C3-834C-7150275475C5}"/>
          </ac:picMkLst>
        </pc:picChg>
        <pc:picChg chg="mod">
          <ac:chgData name="Jessyl Cacho" userId="23b0b4d42ae596b9" providerId="LiveId" clId="{1938F451-E276-4168-A062-517FEF5D1A77}" dt="2019-12-08T20:29:48.860" v="741" actId="1076"/>
          <ac:picMkLst>
            <pc:docMk/>
            <pc:sldMk cId="596795346" sldId="262"/>
            <ac:picMk id="7" creationId="{8F9BC3A0-6BC7-48FF-8A5D-1613FE832771}"/>
          </ac:picMkLst>
        </pc:picChg>
        <pc:picChg chg="mod">
          <ac:chgData name="Jessyl Cacho" userId="23b0b4d42ae596b9" providerId="LiveId" clId="{1938F451-E276-4168-A062-517FEF5D1A77}" dt="2019-12-08T20:26:31.184" v="708" actId="1076"/>
          <ac:picMkLst>
            <pc:docMk/>
            <pc:sldMk cId="596795346" sldId="262"/>
            <ac:picMk id="8" creationId="{B5D97806-592B-4902-ADF9-9CBE94D23606}"/>
          </ac:picMkLst>
        </pc:picChg>
      </pc:sldChg>
      <pc:sldChg chg="del">
        <pc:chgData name="Jessyl Cacho" userId="23b0b4d42ae596b9" providerId="LiveId" clId="{1938F451-E276-4168-A062-517FEF5D1A77}" dt="2019-12-08T20:35:19.236" v="827" actId="47"/>
        <pc:sldMkLst>
          <pc:docMk/>
          <pc:sldMk cId="1602991831" sldId="263"/>
        </pc:sldMkLst>
      </pc:sldChg>
      <pc:sldChg chg="add del">
        <pc:chgData name="Jessyl Cacho" userId="23b0b4d42ae596b9" providerId="LiveId" clId="{1938F451-E276-4168-A062-517FEF5D1A77}" dt="2019-12-08T19:17:59.448" v="5" actId="47"/>
        <pc:sldMkLst>
          <pc:docMk/>
          <pc:sldMk cId="972005540" sldId="264"/>
        </pc:sldMkLst>
      </pc:sldChg>
      <pc:sldChg chg="add del">
        <pc:chgData name="Jessyl Cacho" userId="23b0b4d42ae596b9" providerId="LiveId" clId="{1938F451-E276-4168-A062-517FEF5D1A77}" dt="2019-12-08T19:18:29.043" v="9" actId="2696"/>
        <pc:sldMkLst>
          <pc:docMk/>
          <pc:sldMk cId="1429040849" sldId="264"/>
        </pc:sldMkLst>
      </pc:sldChg>
      <pc:sldChg chg="add del">
        <pc:chgData name="Jessyl Cacho" userId="23b0b4d42ae596b9" providerId="LiveId" clId="{1938F451-E276-4168-A062-517FEF5D1A77}" dt="2019-12-08T19:18:00.660" v="6" actId="47"/>
        <pc:sldMkLst>
          <pc:docMk/>
          <pc:sldMk cId="1650012627" sldId="266"/>
        </pc:sldMkLst>
      </pc:sldChg>
      <pc:sldChg chg="modSp add ord">
        <pc:chgData name="Jessyl Cacho" userId="23b0b4d42ae596b9" providerId="LiveId" clId="{1938F451-E276-4168-A062-517FEF5D1A77}" dt="2019-12-08T20:41:12.709" v="914" actId="20577"/>
        <pc:sldMkLst>
          <pc:docMk/>
          <pc:sldMk cId="3432663345" sldId="331"/>
        </pc:sldMkLst>
        <pc:spChg chg="mod">
          <ac:chgData name="Jessyl Cacho" userId="23b0b4d42ae596b9" providerId="LiveId" clId="{1938F451-E276-4168-A062-517FEF5D1A77}" dt="2019-12-08T20:36:04.336" v="832" actId="2711"/>
          <ac:spMkLst>
            <pc:docMk/>
            <pc:sldMk cId="3432663345" sldId="331"/>
            <ac:spMk id="2" creationId="{6BE28675-3F86-412F-81A4-4D5DC18A36AB}"/>
          </ac:spMkLst>
        </pc:spChg>
        <pc:spChg chg="mod">
          <ac:chgData name="Jessyl Cacho" userId="23b0b4d42ae596b9" providerId="LiveId" clId="{1938F451-E276-4168-A062-517FEF5D1A77}" dt="2019-12-08T20:41:12.709" v="914" actId="20577"/>
          <ac:spMkLst>
            <pc:docMk/>
            <pc:sldMk cId="3432663345" sldId="331"/>
            <ac:spMk id="13" creationId="{5047693B-F45D-4E8A-AF0E-D5132D5B2F55}"/>
          </ac:spMkLst>
        </pc:spChg>
      </pc:sldChg>
      <pc:sldChg chg="addSp delSp modSp add">
        <pc:chgData name="Jessyl Cacho" userId="23b0b4d42ae596b9" providerId="LiveId" clId="{1938F451-E276-4168-A062-517FEF5D1A77}" dt="2019-12-08T20:35:15.762" v="826" actId="1076"/>
        <pc:sldMkLst>
          <pc:docMk/>
          <pc:sldMk cId="2784439918" sldId="332"/>
        </pc:sldMkLst>
        <pc:spChg chg="add mod">
          <ac:chgData name="Jessyl Cacho" userId="23b0b4d42ae596b9" providerId="LiveId" clId="{1938F451-E276-4168-A062-517FEF5D1A77}" dt="2019-12-08T20:34:04.330" v="814" actId="1076"/>
          <ac:spMkLst>
            <pc:docMk/>
            <pc:sldMk cId="2784439918" sldId="332"/>
            <ac:spMk id="2" creationId="{84B95A8F-0C3E-4722-8757-154CD1AECDD3}"/>
          </ac:spMkLst>
        </pc:spChg>
        <pc:spChg chg="mod">
          <ac:chgData name="Jessyl Cacho" userId="23b0b4d42ae596b9" providerId="LiveId" clId="{1938F451-E276-4168-A062-517FEF5D1A77}" dt="2019-12-08T20:33:05.400" v="782" actId="207"/>
          <ac:spMkLst>
            <pc:docMk/>
            <pc:sldMk cId="2784439918" sldId="332"/>
            <ac:spMk id="7" creationId="{D4BD8100-D080-45F2-B9D5-E0192E51731B}"/>
          </ac:spMkLst>
        </pc:spChg>
        <pc:spChg chg="mod">
          <ac:chgData name="Jessyl Cacho" userId="23b0b4d42ae596b9" providerId="LiveId" clId="{1938F451-E276-4168-A062-517FEF5D1A77}" dt="2019-12-08T20:33:09.360" v="783" actId="207"/>
          <ac:spMkLst>
            <pc:docMk/>
            <pc:sldMk cId="2784439918" sldId="332"/>
            <ac:spMk id="8" creationId="{57AE682D-F570-41D2-A5C9-FF46BA80B45C}"/>
          </ac:spMkLst>
        </pc:spChg>
        <pc:spChg chg="del">
          <ac:chgData name="Jessyl Cacho" userId="23b0b4d42ae596b9" providerId="LiveId" clId="{1938F451-E276-4168-A062-517FEF5D1A77}" dt="2019-12-08T20:34:32.016" v="816" actId="478"/>
          <ac:spMkLst>
            <pc:docMk/>
            <pc:sldMk cId="2784439918" sldId="332"/>
            <ac:spMk id="9" creationId="{9DBED297-A0DC-4983-AF5D-F7904B950B48}"/>
          </ac:spMkLst>
        </pc:spChg>
        <pc:spChg chg="del">
          <ac:chgData name="Jessyl Cacho" userId="23b0b4d42ae596b9" providerId="LiveId" clId="{1938F451-E276-4168-A062-517FEF5D1A77}" dt="2019-12-08T20:33:12.153" v="784" actId="478"/>
          <ac:spMkLst>
            <pc:docMk/>
            <pc:sldMk cId="2784439918" sldId="332"/>
            <ac:spMk id="10" creationId="{A823BB27-C098-4EA6-9604-A70A3DAC4DA8}"/>
          </ac:spMkLst>
        </pc:spChg>
        <pc:spChg chg="add mod">
          <ac:chgData name="Jessyl Cacho" userId="23b0b4d42ae596b9" providerId="LiveId" clId="{1938F451-E276-4168-A062-517FEF5D1A77}" dt="2019-12-08T20:33:54.155" v="812" actId="1076"/>
          <ac:spMkLst>
            <pc:docMk/>
            <pc:sldMk cId="2784439918" sldId="332"/>
            <ac:spMk id="12" creationId="{9C53C09F-73BB-4CBA-B7F0-8BC332C9B8A1}"/>
          </ac:spMkLst>
        </pc:spChg>
        <pc:picChg chg="add mod">
          <ac:chgData name="Jessyl Cacho" userId="23b0b4d42ae596b9" providerId="LiveId" clId="{1938F451-E276-4168-A062-517FEF5D1A77}" dt="2019-12-08T20:35:15.762" v="826" actId="1076"/>
          <ac:picMkLst>
            <pc:docMk/>
            <pc:sldMk cId="2784439918" sldId="332"/>
            <ac:picMk id="4" creationId="{F4765A08-2942-44F7-A5BD-9BC3C8845C11}"/>
          </ac:picMkLst>
        </pc:picChg>
        <pc:cxnChg chg="del mod">
          <ac:chgData name="Jessyl Cacho" userId="23b0b4d42ae596b9" providerId="LiveId" clId="{1938F451-E276-4168-A062-517FEF5D1A77}" dt="2019-12-08T20:33:47.688" v="810" actId="478"/>
          <ac:cxnSpMkLst>
            <pc:docMk/>
            <pc:sldMk cId="2784439918" sldId="332"/>
            <ac:cxnSpMk id="11" creationId="{FA0A1F88-BE92-4A48-81E7-F993ADF04800}"/>
          </ac:cxnSpMkLst>
        </pc:cxnChg>
      </pc:sldChg>
      <pc:sldChg chg="modSp add del ord">
        <pc:chgData name="Jessyl Cacho" userId="23b0b4d42ae596b9" providerId="LiveId" clId="{1938F451-E276-4168-A062-517FEF5D1A77}" dt="2019-12-08T19:26:31.839" v="67" actId="47"/>
        <pc:sldMkLst>
          <pc:docMk/>
          <pc:sldMk cId="944505431" sldId="342"/>
        </pc:sldMkLst>
        <pc:picChg chg="mod">
          <ac:chgData name="Jessyl Cacho" userId="23b0b4d42ae596b9" providerId="LiveId" clId="{1938F451-E276-4168-A062-517FEF5D1A77}" dt="2019-12-08T19:26:28.308" v="66" actId="14100"/>
          <ac:picMkLst>
            <pc:docMk/>
            <pc:sldMk cId="944505431" sldId="342"/>
            <ac:picMk id="9" creationId="{B78DE450-11C0-4FCA-B541-898185FE305E}"/>
          </ac:picMkLst>
        </pc:picChg>
      </pc:sldChg>
      <pc:sldChg chg="addSp delSp modSp add ord">
        <pc:chgData name="Jessyl Cacho" userId="23b0b4d42ae596b9" providerId="LiveId" clId="{1938F451-E276-4168-A062-517FEF5D1A77}" dt="2019-12-08T20:39:19.584" v="909" actId="1076"/>
        <pc:sldMkLst>
          <pc:docMk/>
          <pc:sldMk cId="3585631529" sldId="343"/>
        </pc:sldMkLst>
        <pc:spChg chg="mod">
          <ac:chgData name="Jessyl Cacho" userId="23b0b4d42ae596b9" providerId="LiveId" clId="{1938F451-E276-4168-A062-517FEF5D1A77}" dt="2019-12-08T19:23:36.299" v="39" actId="1076"/>
          <ac:spMkLst>
            <pc:docMk/>
            <pc:sldMk cId="3585631529" sldId="343"/>
            <ac:spMk id="2" creationId="{2F2893E1-62D1-482B-9F38-038CBEB15126}"/>
          </ac:spMkLst>
        </pc:spChg>
        <pc:spChg chg="add del mod">
          <ac:chgData name="Jessyl Cacho" userId="23b0b4d42ae596b9" providerId="LiveId" clId="{1938F451-E276-4168-A062-517FEF5D1A77}" dt="2019-12-08T19:30:18.487" v="108"/>
          <ac:spMkLst>
            <pc:docMk/>
            <pc:sldMk cId="3585631529" sldId="343"/>
            <ac:spMk id="23" creationId="{B286AC12-15DD-4D09-82EC-3B11C1623FF0}"/>
          </ac:spMkLst>
        </pc:spChg>
        <pc:spChg chg="add del mod">
          <ac:chgData name="Jessyl Cacho" userId="23b0b4d42ae596b9" providerId="LiveId" clId="{1938F451-E276-4168-A062-517FEF5D1A77}" dt="2019-12-08T19:30:40.399" v="112"/>
          <ac:spMkLst>
            <pc:docMk/>
            <pc:sldMk cId="3585631529" sldId="343"/>
            <ac:spMk id="29" creationId="{B50A566E-B76F-4F95-BC2F-54CF5ACB7ACB}"/>
          </ac:spMkLst>
        </pc:spChg>
        <pc:spChg chg="mod topLvl">
          <ac:chgData name="Jessyl Cacho" userId="23b0b4d42ae596b9" providerId="LiveId" clId="{1938F451-E276-4168-A062-517FEF5D1A77}" dt="2019-12-08T19:22:59.525" v="34" actId="164"/>
          <ac:spMkLst>
            <pc:docMk/>
            <pc:sldMk cId="3585631529" sldId="343"/>
            <ac:spMk id="30" creationId="{40CD8A41-8F45-41C0-96FD-77EBA94617D9}"/>
          </ac:spMkLst>
        </pc:spChg>
        <pc:spChg chg="mod topLvl">
          <ac:chgData name="Jessyl Cacho" userId="23b0b4d42ae596b9" providerId="LiveId" clId="{1938F451-E276-4168-A062-517FEF5D1A77}" dt="2019-12-08T19:22:59.525" v="34" actId="164"/>
          <ac:spMkLst>
            <pc:docMk/>
            <pc:sldMk cId="3585631529" sldId="343"/>
            <ac:spMk id="32" creationId="{BB59A1D1-8D7F-462C-A60E-64D227F46873}"/>
          </ac:spMkLst>
        </pc:spChg>
        <pc:spChg chg="mod topLvl">
          <ac:chgData name="Jessyl Cacho" userId="23b0b4d42ae596b9" providerId="LiveId" clId="{1938F451-E276-4168-A062-517FEF5D1A77}" dt="2019-12-08T19:22:59.525" v="34" actId="164"/>
          <ac:spMkLst>
            <pc:docMk/>
            <pc:sldMk cId="3585631529" sldId="343"/>
            <ac:spMk id="33" creationId="{E1156DA5-42A5-4CAE-8541-9360E13C89ED}"/>
          </ac:spMkLst>
        </pc:spChg>
        <pc:spChg chg="mod topLvl">
          <ac:chgData name="Jessyl Cacho" userId="23b0b4d42ae596b9" providerId="LiveId" clId="{1938F451-E276-4168-A062-517FEF5D1A77}" dt="2019-12-08T19:22:59.525" v="34" actId="164"/>
          <ac:spMkLst>
            <pc:docMk/>
            <pc:sldMk cId="3585631529" sldId="343"/>
            <ac:spMk id="34" creationId="{D13BAD97-187A-43A3-A27F-FB5484141225}"/>
          </ac:spMkLst>
        </pc:spChg>
        <pc:spChg chg="mod topLvl">
          <ac:chgData name="Jessyl Cacho" userId="23b0b4d42ae596b9" providerId="LiveId" clId="{1938F451-E276-4168-A062-517FEF5D1A77}" dt="2019-12-08T19:22:59.525" v="34" actId="164"/>
          <ac:spMkLst>
            <pc:docMk/>
            <pc:sldMk cId="3585631529" sldId="343"/>
            <ac:spMk id="35" creationId="{7C5EC166-FB30-416D-8FF6-77AE1CDB1C3D}"/>
          </ac:spMkLst>
        </pc:spChg>
        <pc:spChg chg="mod">
          <ac:chgData name="Jessyl Cacho" userId="23b0b4d42ae596b9" providerId="LiveId" clId="{1938F451-E276-4168-A062-517FEF5D1A77}" dt="2019-12-08T19:24:14.661" v="41" actId="207"/>
          <ac:spMkLst>
            <pc:docMk/>
            <pc:sldMk cId="3585631529" sldId="343"/>
            <ac:spMk id="36" creationId="{28F5A5EC-1307-4016-B3F5-5CC6A02262AC}"/>
          </ac:spMkLst>
        </pc:spChg>
        <pc:spChg chg="mod">
          <ac:chgData name="Jessyl Cacho" userId="23b0b4d42ae596b9" providerId="LiveId" clId="{1938F451-E276-4168-A062-517FEF5D1A77}" dt="2019-12-08T20:39:08.446" v="908" actId="20577"/>
          <ac:spMkLst>
            <pc:docMk/>
            <pc:sldMk cId="3585631529" sldId="343"/>
            <ac:spMk id="37" creationId="{277CDAF2-6295-48BE-BC9A-1DF33BBC8835}"/>
          </ac:spMkLst>
        </pc:spChg>
        <pc:spChg chg="mod topLvl">
          <ac:chgData name="Jessyl Cacho" userId="23b0b4d42ae596b9" providerId="LiveId" clId="{1938F451-E276-4168-A062-517FEF5D1A77}" dt="2019-12-08T19:24:18.989" v="42" actId="207"/>
          <ac:spMkLst>
            <pc:docMk/>
            <pc:sldMk cId="3585631529" sldId="343"/>
            <ac:spMk id="40" creationId="{66E461BE-85B3-4889-B862-60DC6E1DA1BC}"/>
          </ac:spMkLst>
        </pc:spChg>
        <pc:spChg chg="mod topLvl">
          <ac:chgData name="Jessyl Cacho" userId="23b0b4d42ae596b9" providerId="LiveId" clId="{1938F451-E276-4168-A062-517FEF5D1A77}" dt="2019-12-08T19:22:59.525" v="34" actId="164"/>
          <ac:spMkLst>
            <pc:docMk/>
            <pc:sldMk cId="3585631529" sldId="343"/>
            <ac:spMk id="41" creationId="{66FDF503-4419-4264-9AD2-954D66A5A93D}"/>
          </ac:spMkLst>
        </pc:spChg>
        <pc:spChg chg="mod">
          <ac:chgData name="Jessyl Cacho" userId="23b0b4d42ae596b9" providerId="LiveId" clId="{1938F451-E276-4168-A062-517FEF5D1A77}" dt="2019-12-08T19:46:36.763" v="286" actId="1076"/>
          <ac:spMkLst>
            <pc:docMk/>
            <pc:sldMk cId="3585631529" sldId="343"/>
            <ac:spMk id="42" creationId="{F037653A-EC37-4BA0-A040-26D8A69A8569}"/>
          </ac:spMkLst>
        </pc:spChg>
        <pc:spChg chg="add mod">
          <ac:chgData name="Jessyl Cacho" userId="23b0b4d42ae596b9" providerId="LiveId" clId="{1938F451-E276-4168-A062-517FEF5D1A77}" dt="2019-12-08T19:22:59.525" v="34" actId="164"/>
          <ac:spMkLst>
            <pc:docMk/>
            <pc:sldMk cId="3585631529" sldId="343"/>
            <ac:spMk id="44" creationId="{9291BACA-260B-43E9-8D2F-3D029E255ACE}"/>
          </ac:spMkLst>
        </pc:spChg>
        <pc:grpChg chg="add mod">
          <ac:chgData name="Jessyl Cacho" userId="23b0b4d42ae596b9" providerId="LiveId" clId="{1938F451-E276-4168-A062-517FEF5D1A77}" dt="2019-12-08T20:39:19.584" v="909" actId="1076"/>
          <ac:grpSpMkLst>
            <pc:docMk/>
            <pc:sldMk cId="3585631529" sldId="343"/>
            <ac:grpSpMk id="3" creationId="{720E2410-2033-406D-8727-FEDFE1E3724E}"/>
          </ac:grpSpMkLst>
        </pc:grpChg>
        <pc:grpChg chg="del mod">
          <ac:chgData name="Jessyl Cacho" userId="23b0b4d42ae596b9" providerId="LiveId" clId="{1938F451-E276-4168-A062-517FEF5D1A77}" dt="2019-12-08T19:22:41.134" v="31" actId="165"/>
          <ac:grpSpMkLst>
            <pc:docMk/>
            <pc:sldMk cId="3585631529" sldId="343"/>
            <ac:grpSpMk id="28" creationId="{CAD42DB7-C129-448F-AB22-C6D915D1D4C4}"/>
          </ac:grpSpMkLst>
        </pc:grpChg>
        <pc:picChg chg="del mod">
          <ac:chgData name="Jessyl Cacho" userId="23b0b4d42ae596b9" providerId="LiveId" clId="{1938F451-E276-4168-A062-517FEF5D1A77}" dt="2019-12-08T19:30:18.487" v="108"/>
          <ac:picMkLst>
            <pc:docMk/>
            <pc:sldMk cId="3585631529" sldId="343"/>
            <ac:picMk id="43" creationId="{ACD20110-ACD4-46B3-9305-34DE1DF2011F}"/>
          </ac:picMkLst>
        </pc:picChg>
        <pc:picChg chg="del mod">
          <ac:chgData name="Jessyl Cacho" userId="23b0b4d42ae596b9" providerId="LiveId" clId="{1938F451-E276-4168-A062-517FEF5D1A77}" dt="2019-12-08T19:30:40.399" v="112"/>
          <ac:picMkLst>
            <pc:docMk/>
            <pc:sldMk cId="3585631529" sldId="343"/>
            <ac:picMk id="45" creationId="{E6955465-1DC0-4C88-A379-0C14B1A9A538}"/>
          </ac:picMkLst>
        </pc:picChg>
        <pc:picChg chg="mod">
          <ac:chgData name="Jessyl Cacho" userId="23b0b4d42ae596b9" providerId="LiveId" clId="{1938F451-E276-4168-A062-517FEF5D1A77}" dt="2019-12-08T19:30:52.041" v="115" actId="14100"/>
          <ac:picMkLst>
            <pc:docMk/>
            <pc:sldMk cId="3585631529" sldId="343"/>
            <ac:picMk id="46" creationId="{BB26EBDB-DEB0-4080-B1DB-B4AA335E3F6E}"/>
          </ac:picMkLst>
        </pc:picChg>
      </pc:sldChg>
      <pc:sldChg chg="addSp delSp modSp add">
        <pc:chgData name="Jessyl Cacho" userId="23b0b4d42ae596b9" providerId="LiveId" clId="{1938F451-E276-4168-A062-517FEF5D1A77}" dt="2019-12-08T20:09:54.022" v="552" actId="164"/>
        <pc:sldMkLst>
          <pc:docMk/>
          <pc:sldMk cId="2108289797" sldId="344"/>
        </pc:sldMkLst>
        <pc:spChg chg="del">
          <ac:chgData name="Jessyl Cacho" userId="23b0b4d42ae596b9" providerId="LiveId" clId="{1938F451-E276-4168-A062-517FEF5D1A77}" dt="2019-12-08T20:01:11.506" v="452" actId="478"/>
          <ac:spMkLst>
            <pc:docMk/>
            <pc:sldMk cId="2108289797" sldId="344"/>
            <ac:spMk id="2" creationId="{C7D7C2DC-148A-45F9-9562-A13889480B73}"/>
          </ac:spMkLst>
        </pc:spChg>
        <pc:spChg chg="add">
          <ac:chgData name="Jessyl Cacho" userId="23b0b4d42ae596b9" providerId="LiveId" clId="{1938F451-E276-4168-A062-517FEF5D1A77}" dt="2019-12-08T20:01:16.038" v="453"/>
          <ac:spMkLst>
            <pc:docMk/>
            <pc:sldMk cId="2108289797" sldId="344"/>
            <ac:spMk id="3" creationId="{94C84875-D149-4CD4-A5D7-8C762CDE1ABE}"/>
          </ac:spMkLst>
        </pc:spChg>
        <pc:spChg chg="add">
          <ac:chgData name="Jessyl Cacho" userId="23b0b4d42ae596b9" providerId="LiveId" clId="{1938F451-E276-4168-A062-517FEF5D1A77}" dt="2019-12-08T20:01:19.209" v="454"/>
          <ac:spMkLst>
            <pc:docMk/>
            <pc:sldMk cId="2108289797" sldId="344"/>
            <ac:spMk id="4" creationId="{CB329D2D-99BE-4B9B-ABC5-F7A1988720EC}"/>
          </ac:spMkLst>
        </pc:spChg>
        <pc:grpChg chg="add mod">
          <ac:chgData name="Jessyl Cacho" userId="23b0b4d42ae596b9" providerId="LiveId" clId="{1938F451-E276-4168-A062-517FEF5D1A77}" dt="2019-12-08T20:09:48.134" v="550" actId="164"/>
          <ac:grpSpMkLst>
            <pc:docMk/>
            <pc:sldMk cId="2108289797" sldId="344"/>
            <ac:grpSpMk id="22" creationId="{97E4CC84-F21F-4EE0-A4E3-1E9E3B210C6E}"/>
          </ac:grpSpMkLst>
        </pc:grpChg>
        <pc:grpChg chg="add mod">
          <ac:chgData name="Jessyl Cacho" userId="23b0b4d42ae596b9" providerId="LiveId" clId="{1938F451-E276-4168-A062-517FEF5D1A77}" dt="2019-12-08T20:09:51.869" v="551" actId="164"/>
          <ac:grpSpMkLst>
            <pc:docMk/>
            <pc:sldMk cId="2108289797" sldId="344"/>
            <ac:grpSpMk id="25" creationId="{6A63A8DE-5279-4195-83B0-1422BEA962CC}"/>
          </ac:grpSpMkLst>
        </pc:grpChg>
        <pc:grpChg chg="add mod">
          <ac:chgData name="Jessyl Cacho" userId="23b0b4d42ae596b9" providerId="LiveId" clId="{1938F451-E276-4168-A062-517FEF5D1A77}" dt="2019-12-08T20:09:54.022" v="552" actId="164"/>
          <ac:grpSpMkLst>
            <pc:docMk/>
            <pc:sldMk cId="2108289797" sldId="344"/>
            <ac:grpSpMk id="32" creationId="{5A41413D-EF47-4183-BEE2-B4DDA8E00664}"/>
          </ac:grpSpMkLst>
        </pc:grpChg>
        <pc:grpChg chg="add mod">
          <ac:chgData name="Jessyl Cacho" userId="23b0b4d42ae596b9" providerId="LiveId" clId="{1938F451-E276-4168-A062-517FEF5D1A77}" dt="2019-12-08T20:09:48.134" v="550" actId="164"/>
          <ac:grpSpMkLst>
            <pc:docMk/>
            <pc:sldMk cId="2108289797" sldId="344"/>
            <ac:grpSpMk id="33" creationId="{01E866EF-3FDE-4BDA-AC25-77536792DD0F}"/>
          </ac:grpSpMkLst>
        </pc:grpChg>
        <pc:grpChg chg="add mod">
          <ac:chgData name="Jessyl Cacho" userId="23b0b4d42ae596b9" providerId="LiveId" clId="{1938F451-E276-4168-A062-517FEF5D1A77}" dt="2019-12-08T20:09:51.869" v="551" actId="164"/>
          <ac:grpSpMkLst>
            <pc:docMk/>
            <pc:sldMk cId="2108289797" sldId="344"/>
            <ac:grpSpMk id="34" creationId="{44A5D1E6-4A41-451A-90FC-03812EF53A97}"/>
          </ac:grpSpMkLst>
        </pc:grpChg>
        <pc:grpChg chg="add mod">
          <ac:chgData name="Jessyl Cacho" userId="23b0b4d42ae596b9" providerId="LiveId" clId="{1938F451-E276-4168-A062-517FEF5D1A77}" dt="2019-12-08T20:09:54.022" v="552" actId="164"/>
          <ac:grpSpMkLst>
            <pc:docMk/>
            <pc:sldMk cId="2108289797" sldId="344"/>
            <ac:grpSpMk id="35" creationId="{94BFA15D-8B6A-467C-96EE-390F34B24AA8}"/>
          </ac:grpSpMkLst>
        </pc:grpChg>
        <pc:picChg chg="add mod">
          <ac:chgData name="Jessyl Cacho" userId="23b0b4d42ae596b9" providerId="LiveId" clId="{1938F451-E276-4168-A062-517FEF5D1A77}" dt="2019-12-08T20:09:48.134" v="550" actId="164"/>
          <ac:picMkLst>
            <pc:docMk/>
            <pc:sldMk cId="2108289797" sldId="344"/>
            <ac:picMk id="5" creationId="{040502F1-BF49-44FF-B7E2-16D92896F2C8}"/>
          </ac:picMkLst>
        </pc:picChg>
        <pc:picChg chg="add mod">
          <ac:chgData name="Jessyl Cacho" userId="23b0b4d42ae596b9" providerId="LiveId" clId="{1938F451-E276-4168-A062-517FEF5D1A77}" dt="2019-12-08T20:09:51.869" v="551" actId="164"/>
          <ac:picMkLst>
            <pc:docMk/>
            <pc:sldMk cId="2108289797" sldId="344"/>
            <ac:picMk id="10" creationId="{EC80DF1D-2DF1-4970-A484-9115E5B9ACD2}"/>
          </ac:picMkLst>
        </pc:picChg>
        <pc:picChg chg="add mod">
          <ac:chgData name="Jessyl Cacho" userId="23b0b4d42ae596b9" providerId="LiveId" clId="{1938F451-E276-4168-A062-517FEF5D1A77}" dt="2019-12-08T20:09:54.022" v="552" actId="164"/>
          <ac:picMkLst>
            <pc:docMk/>
            <pc:sldMk cId="2108289797" sldId="344"/>
            <ac:picMk id="14" creationId="{5E32BE04-5BD1-47BE-B9F2-A4179C4FEFA3}"/>
          </ac:picMkLst>
        </pc:picChg>
        <pc:cxnChg chg="add mod">
          <ac:chgData name="Jessyl Cacho" userId="23b0b4d42ae596b9" providerId="LiveId" clId="{1938F451-E276-4168-A062-517FEF5D1A77}" dt="2019-12-08T20:04:01.608" v="494" actId="164"/>
          <ac:cxnSpMkLst>
            <pc:docMk/>
            <pc:sldMk cId="2108289797" sldId="344"/>
            <ac:cxnSpMk id="7" creationId="{BE12800A-326F-42C7-A590-DDACB6BEF7D5}"/>
          </ac:cxnSpMkLst>
        </pc:cxnChg>
        <pc:cxnChg chg="add mod">
          <ac:chgData name="Jessyl Cacho" userId="23b0b4d42ae596b9" providerId="LiveId" clId="{1938F451-E276-4168-A062-517FEF5D1A77}" dt="2019-12-08T20:04:15.217" v="499" actId="164"/>
          <ac:cxnSpMkLst>
            <pc:docMk/>
            <pc:sldMk cId="2108289797" sldId="344"/>
            <ac:cxnSpMk id="11" creationId="{840C5B7C-88C7-4526-A6CA-2A805D6B814A}"/>
          </ac:cxnSpMkLst>
        </pc:cxnChg>
        <pc:cxnChg chg="add mod">
          <ac:chgData name="Jessyl Cacho" userId="23b0b4d42ae596b9" providerId="LiveId" clId="{1938F451-E276-4168-A062-517FEF5D1A77}" dt="2019-12-08T20:05:02.495" v="509" actId="164"/>
          <ac:cxnSpMkLst>
            <pc:docMk/>
            <pc:sldMk cId="2108289797" sldId="344"/>
            <ac:cxnSpMk id="15" creationId="{47110C41-2E62-4214-B21B-C48A39DCFD3B}"/>
          </ac:cxnSpMkLst>
        </pc:cxnChg>
        <pc:cxnChg chg="add mod">
          <ac:chgData name="Jessyl Cacho" userId="23b0b4d42ae596b9" providerId="LiveId" clId="{1938F451-E276-4168-A062-517FEF5D1A77}" dt="2019-12-08T20:04:01.608" v="494" actId="164"/>
          <ac:cxnSpMkLst>
            <pc:docMk/>
            <pc:sldMk cId="2108289797" sldId="344"/>
            <ac:cxnSpMk id="19" creationId="{8CA5414C-B6A3-4852-9127-FF2CED3D9DDF}"/>
          </ac:cxnSpMkLst>
        </pc:cxnChg>
        <pc:cxnChg chg="add mod">
          <ac:chgData name="Jessyl Cacho" userId="23b0b4d42ae596b9" providerId="LiveId" clId="{1938F451-E276-4168-A062-517FEF5D1A77}" dt="2019-12-08T20:04:01.608" v="494" actId="164"/>
          <ac:cxnSpMkLst>
            <pc:docMk/>
            <pc:sldMk cId="2108289797" sldId="344"/>
            <ac:cxnSpMk id="20" creationId="{57BEA895-3B9D-4B7E-B742-1425166C86E5}"/>
          </ac:cxnSpMkLst>
        </pc:cxnChg>
        <pc:cxnChg chg="add mod">
          <ac:chgData name="Jessyl Cacho" userId="23b0b4d42ae596b9" providerId="LiveId" clId="{1938F451-E276-4168-A062-517FEF5D1A77}" dt="2019-12-08T20:04:15.217" v="499" actId="164"/>
          <ac:cxnSpMkLst>
            <pc:docMk/>
            <pc:sldMk cId="2108289797" sldId="344"/>
            <ac:cxnSpMk id="23" creationId="{5B9A8555-E9A6-49C1-B1BE-1A3E9E5D742B}"/>
          </ac:cxnSpMkLst>
        </pc:cxnChg>
        <pc:cxnChg chg="add mod">
          <ac:chgData name="Jessyl Cacho" userId="23b0b4d42ae596b9" providerId="LiveId" clId="{1938F451-E276-4168-A062-517FEF5D1A77}" dt="2019-12-08T20:04:15.217" v="499" actId="164"/>
          <ac:cxnSpMkLst>
            <pc:docMk/>
            <pc:sldMk cId="2108289797" sldId="344"/>
            <ac:cxnSpMk id="24" creationId="{21E2CABF-F164-4249-BB3C-765AD76CB2F9}"/>
          </ac:cxnSpMkLst>
        </pc:cxnChg>
        <pc:cxnChg chg="add mod">
          <ac:chgData name="Jessyl Cacho" userId="23b0b4d42ae596b9" providerId="LiveId" clId="{1938F451-E276-4168-A062-517FEF5D1A77}" dt="2019-12-08T20:05:02.495" v="509" actId="164"/>
          <ac:cxnSpMkLst>
            <pc:docMk/>
            <pc:sldMk cId="2108289797" sldId="344"/>
            <ac:cxnSpMk id="27" creationId="{B4F2BC5F-C371-40C8-8527-2680062C0E8A}"/>
          </ac:cxnSpMkLst>
        </pc:cxnChg>
        <pc:cxnChg chg="add mod">
          <ac:chgData name="Jessyl Cacho" userId="23b0b4d42ae596b9" providerId="LiveId" clId="{1938F451-E276-4168-A062-517FEF5D1A77}" dt="2019-12-08T20:05:02.495" v="509" actId="164"/>
          <ac:cxnSpMkLst>
            <pc:docMk/>
            <pc:sldMk cId="2108289797" sldId="344"/>
            <ac:cxnSpMk id="30" creationId="{7B4AB2D0-27CD-4946-B1C7-CB2560C7BB8B}"/>
          </ac:cxnSpMkLst>
        </pc:cxnChg>
      </pc:sldChg>
      <pc:sldChg chg="modSp add del ord">
        <pc:chgData name="Jessyl Cacho" userId="23b0b4d42ae596b9" providerId="LiveId" clId="{1938F451-E276-4168-A062-517FEF5D1A77}" dt="2019-12-08T19:36:15.644" v="130" actId="47"/>
        <pc:sldMkLst>
          <pc:docMk/>
          <pc:sldMk cId="4025558814" sldId="344"/>
        </pc:sldMkLst>
        <pc:spChg chg="mod">
          <ac:chgData name="Jessyl Cacho" userId="23b0b4d42ae596b9" providerId="LiveId" clId="{1938F451-E276-4168-A062-517FEF5D1A77}" dt="2019-12-08T19:28:02.952" v="73" actId="208"/>
          <ac:spMkLst>
            <pc:docMk/>
            <pc:sldMk cId="4025558814" sldId="344"/>
            <ac:spMk id="8" creationId="{F2EFFE91-2D08-4329-9369-10EAE717B450}"/>
          </ac:spMkLst>
        </pc:spChg>
        <pc:spChg chg="mod">
          <ac:chgData name="Jessyl Cacho" userId="23b0b4d42ae596b9" providerId="LiveId" clId="{1938F451-E276-4168-A062-517FEF5D1A77}" dt="2019-12-08T19:29:27.490" v="100" actId="1076"/>
          <ac:spMkLst>
            <pc:docMk/>
            <pc:sldMk cId="4025558814" sldId="344"/>
            <ac:spMk id="11" creationId="{03CAE967-50AA-4208-97FC-487DA8102E6D}"/>
          </ac:spMkLst>
        </pc:spChg>
        <pc:spChg chg="mod">
          <ac:chgData name="Jessyl Cacho" userId="23b0b4d42ae596b9" providerId="LiveId" clId="{1938F451-E276-4168-A062-517FEF5D1A77}" dt="2019-12-08T19:28:51.099" v="90" actId="1076"/>
          <ac:spMkLst>
            <pc:docMk/>
            <pc:sldMk cId="4025558814" sldId="344"/>
            <ac:spMk id="12" creationId="{5297C430-A056-4168-A6DA-3A4104B0E981}"/>
          </ac:spMkLst>
        </pc:spChg>
        <pc:picChg chg="mod">
          <ac:chgData name="Jessyl Cacho" userId="23b0b4d42ae596b9" providerId="LiveId" clId="{1938F451-E276-4168-A062-517FEF5D1A77}" dt="2019-12-08T19:27:57.299" v="71" actId="208"/>
          <ac:picMkLst>
            <pc:docMk/>
            <pc:sldMk cId="4025558814" sldId="344"/>
            <ac:picMk id="7" creationId="{5BA6BF67-72EC-45E6-8CE1-7FA6B11C6743}"/>
          </ac:picMkLst>
        </pc:picChg>
      </pc:sldChg>
      <pc:sldChg chg="addSp delSp modSp add">
        <pc:chgData name="Jessyl Cacho" userId="23b0b4d42ae596b9" providerId="LiveId" clId="{1938F451-E276-4168-A062-517FEF5D1A77}" dt="2019-12-08T20:16:12.986" v="596" actId="1076"/>
        <pc:sldMkLst>
          <pc:docMk/>
          <pc:sldMk cId="3425747136" sldId="345"/>
        </pc:sldMkLst>
        <pc:spChg chg="del">
          <ac:chgData name="Jessyl Cacho" userId="23b0b4d42ae596b9" providerId="LiveId" clId="{1938F451-E276-4168-A062-517FEF5D1A77}" dt="2019-12-08T20:05:20.919" v="511" actId="478"/>
          <ac:spMkLst>
            <pc:docMk/>
            <pc:sldMk cId="3425747136" sldId="345"/>
            <ac:spMk id="2" creationId="{ED2D1A0D-4309-4B32-B279-B8977CD19463}"/>
          </ac:spMkLst>
        </pc:spChg>
        <pc:spChg chg="add">
          <ac:chgData name="Jessyl Cacho" userId="23b0b4d42ae596b9" providerId="LiveId" clId="{1938F451-E276-4168-A062-517FEF5D1A77}" dt="2019-12-08T20:05:25.608" v="512"/>
          <ac:spMkLst>
            <pc:docMk/>
            <pc:sldMk cId="3425747136" sldId="345"/>
            <ac:spMk id="3" creationId="{BE232E1B-A87A-4A2E-A616-A26E52B363BC}"/>
          </ac:spMkLst>
        </pc:spChg>
        <pc:spChg chg="add mod">
          <ac:chgData name="Jessyl Cacho" userId="23b0b4d42ae596b9" providerId="LiveId" clId="{1938F451-E276-4168-A062-517FEF5D1A77}" dt="2019-12-08T20:05:32.145" v="514" actId="1076"/>
          <ac:spMkLst>
            <pc:docMk/>
            <pc:sldMk cId="3425747136" sldId="345"/>
            <ac:spMk id="4" creationId="{B1B5E1BA-755A-4B2B-A60B-49C47414D892}"/>
          </ac:spMkLst>
        </pc:spChg>
        <pc:grpChg chg="add mod">
          <ac:chgData name="Jessyl Cacho" userId="23b0b4d42ae596b9" providerId="LiveId" clId="{1938F451-E276-4168-A062-517FEF5D1A77}" dt="2019-12-08T20:09:40.022" v="549" actId="1076"/>
          <ac:grpSpMkLst>
            <pc:docMk/>
            <pc:sldMk cId="3425747136" sldId="345"/>
            <ac:grpSpMk id="17" creationId="{550766A0-2742-4030-8153-27E5C0E56572}"/>
          </ac:grpSpMkLst>
        </pc:grpChg>
        <pc:grpChg chg="add mod">
          <ac:chgData name="Jessyl Cacho" userId="23b0b4d42ae596b9" providerId="LiveId" clId="{1938F451-E276-4168-A062-517FEF5D1A77}" dt="2019-12-08T20:10:48.534" v="564" actId="1076"/>
          <ac:grpSpMkLst>
            <pc:docMk/>
            <pc:sldMk cId="3425747136" sldId="345"/>
            <ac:grpSpMk id="18" creationId="{7770E4B8-5664-4F5C-9B0D-70C4DA904F7C}"/>
          </ac:grpSpMkLst>
        </pc:grpChg>
        <pc:grpChg chg="add mod">
          <ac:chgData name="Jessyl Cacho" userId="23b0b4d42ae596b9" providerId="LiveId" clId="{1938F451-E276-4168-A062-517FEF5D1A77}" dt="2019-12-08T20:16:12.986" v="596" actId="1076"/>
          <ac:grpSpMkLst>
            <pc:docMk/>
            <pc:sldMk cId="3425747136" sldId="345"/>
            <ac:grpSpMk id="27" creationId="{D4D4A74C-6A23-44E6-B65F-194D5410D7FC}"/>
          </ac:grpSpMkLst>
        </pc:grpChg>
        <pc:picChg chg="add mod">
          <ac:chgData name="Jessyl Cacho" userId="23b0b4d42ae596b9" providerId="LiveId" clId="{1938F451-E276-4168-A062-517FEF5D1A77}" dt="2019-12-08T20:09:36.494" v="548" actId="164"/>
          <ac:picMkLst>
            <pc:docMk/>
            <pc:sldMk cId="3425747136" sldId="345"/>
            <ac:picMk id="5" creationId="{5E074AC3-65E4-4C76-A630-EDD195E1872C}"/>
          </ac:picMkLst>
        </pc:picChg>
        <pc:picChg chg="add mod">
          <ac:chgData name="Jessyl Cacho" userId="23b0b4d42ae596b9" providerId="LiveId" clId="{1938F451-E276-4168-A062-517FEF5D1A77}" dt="2019-12-08T20:10:10.293" v="553" actId="164"/>
          <ac:picMkLst>
            <pc:docMk/>
            <pc:sldMk cId="3425747136" sldId="345"/>
            <ac:picMk id="11" creationId="{511F8AB1-C5A1-427C-A08C-D9070F80D5FC}"/>
          </ac:picMkLst>
        </pc:picChg>
        <pc:picChg chg="add mod">
          <ac:chgData name="Jessyl Cacho" userId="23b0b4d42ae596b9" providerId="LiveId" clId="{1938F451-E276-4168-A062-517FEF5D1A77}" dt="2019-12-08T20:11:55.356" v="576" actId="164"/>
          <ac:picMkLst>
            <pc:docMk/>
            <pc:sldMk cId="3425747136" sldId="345"/>
            <ac:picMk id="19" creationId="{4971F128-BBDF-4CA1-A555-1840A1216FA0}"/>
          </ac:picMkLst>
        </pc:picChg>
        <pc:cxnChg chg="add mod">
          <ac:chgData name="Jessyl Cacho" userId="23b0b4d42ae596b9" providerId="LiveId" clId="{1938F451-E276-4168-A062-517FEF5D1A77}" dt="2019-12-08T20:09:36.494" v="548" actId="164"/>
          <ac:cxnSpMkLst>
            <pc:docMk/>
            <pc:sldMk cId="3425747136" sldId="345"/>
            <ac:cxnSpMk id="7" creationId="{6163A0C2-8ACB-4454-BF1E-8CB6D2165EEB}"/>
          </ac:cxnSpMkLst>
        </pc:cxnChg>
        <pc:cxnChg chg="add mod">
          <ac:chgData name="Jessyl Cacho" userId="23b0b4d42ae596b9" providerId="LiveId" clId="{1938F451-E276-4168-A062-517FEF5D1A77}" dt="2019-12-08T20:09:36.494" v="548" actId="164"/>
          <ac:cxnSpMkLst>
            <pc:docMk/>
            <pc:sldMk cId="3425747136" sldId="345"/>
            <ac:cxnSpMk id="9" creationId="{581F9CDB-4B15-46A1-BE23-EF3492124127}"/>
          </ac:cxnSpMkLst>
        </pc:cxnChg>
        <pc:cxnChg chg="add mod">
          <ac:chgData name="Jessyl Cacho" userId="23b0b4d42ae596b9" providerId="LiveId" clId="{1938F451-E276-4168-A062-517FEF5D1A77}" dt="2019-12-08T20:09:36.494" v="548" actId="164"/>
          <ac:cxnSpMkLst>
            <pc:docMk/>
            <pc:sldMk cId="3425747136" sldId="345"/>
            <ac:cxnSpMk id="10" creationId="{C72EAF9D-2E14-4D68-BEC7-3952698227CF}"/>
          </ac:cxnSpMkLst>
        </pc:cxnChg>
        <pc:cxnChg chg="add mod">
          <ac:chgData name="Jessyl Cacho" userId="23b0b4d42ae596b9" providerId="LiveId" clId="{1938F451-E276-4168-A062-517FEF5D1A77}" dt="2019-12-08T20:10:10.293" v="553" actId="164"/>
          <ac:cxnSpMkLst>
            <pc:docMk/>
            <pc:sldMk cId="3425747136" sldId="345"/>
            <ac:cxnSpMk id="12" creationId="{5B567656-D40C-4490-80A5-CFECAD18C98C}"/>
          </ac:cxnSpMkLst>
        </pc:cxnChg>
        <pc:cxnChg chg="add mod">
          <ac:chgData name="Jessyl Cacho" userId="23b0b4d42ae596b9" providerId="LiveId" clId="{1938F451-E276-4168-A062-517FEF5D1A77}" dt="2019-12-08T20:10:10.293" v="553" actId="164"/>
          <ac:cxnSpMkLst>
            <pc:docMk/>
            <pc:sldMk cId="3425747136" sldId="345"/>
            <ac:cxnSpMk id="14" creationId="{D6873254-DE31-42FE-A681-93F7E82E56D7}"/>
          </ac:cxnSpMkLst>
        </pc:cxnChg>
        <pc:cxnChg chg="add mod">
          <ac:chgData name="Jessyl Cacho" userId="23b0b4d42ae596b9" providerId="LiveId" clId="{1938F451-E276-4168-A062-517FEF5D1A77}" dt="2019-12-08T20:10:10.293" v="553" actId="164"/>
          <ac:cxnSpMkLst>
            <pc:docMk/>
            <pc:sldMk cId="3425747136" sldId="345"/>
            <ac:cxnSpMk id="15" creationId="{D4D86CC1-6A36-4817-A8A4-672458CEC1F9}"/>
          </ac:cxnSpMkLst>
        </pc:cxnChg>
        <pc:cxnChg chg="add mod">
          <ac:chgData name="Jessyl Cacho" userId="23b0b4d42ae596b9" providerId="LiveId" clId="{1938F451-E276-4168-A062-517FEF5D1A77}" dt="2019-12-08T20:11:55.356" v="576" actId="164"/>
          <ac:cxnSpMkLst>
            <pc:docMk/>
            <pc:sldMk cId="3425747136" sldId="345"/>
            <ac:cxnSpMk id="16" creationId="{CAB5EAC8-80C5-48D5-830A-AD69201271AE}"/>
          </ac:cxnSpMkLst>
        </pc:cxnChg>
        <pc:cxnChg chg="add mod">
          <ac:chgData name="Jessyl Cacho" userId="23b0b4d42ae596b9" providerId="LiveId" clId="{1938F451-E276-4168-A062-517FEF5D1A77}" dt="2019-12-08T20:11:55.356" v="576" actId="164"/>
          <ac:cxnSpMkLst>
            <pc:docMk/>
            <pc:sldMk cId="3425747136" sldId="345"/>
            <ac:cxnSpMk id="22" creationId="{0CA0219D-C259-4328-8514-2CD93FB27E2E}"/>
          </ac:cxnSpMkLst>
        </pc:cxnChg>
        <pc:cxnChg chg="add mod">
          <ac:chgData name="Jessyl Cacho" userId="23b0b4d42ae596b9" providerId="LiveId" clId="{1938F451-E276-4168-A062-517FEF5D1A77}" dt="2019-12-08T20:11:55.356" v="576" actId="164"/>
          <ac:cxnSpMkLst>
            <pc:docMk/>
            <pc:sldMk cId="3425747136" sldId="345"/>
            <ac:cxnSpMk id="23" creationId="{8E8EFBD2-2479-496B-9EF2-FB628B98C267}"/>
          </ac:cxnSpMkLst>
        </pc:cxnChg>
      </pc:sldChg>
      <pc:sldChg chg="addSp delSp modSp add">
        <pc:chgData name="Jessyl Cacho" userId="23b0b4d42ae596b9" providerId="LiveId" clId="{1938F451-E276-4168-A062-517FEF5D1A77}" dt="2019-12-08T20:26:10.112" v="703" actId="113"/>
        <pc:sldMkLst>
          <pc:docMk/>
          <pc:sldMk cId="2589412085" sldId="346"/>
        </pc:sldMkLst>
        <pc:spChg chg="del">
          <ac:chgData name="Jessyl Cacho" userId="23b0b4d42ae596b9" providerId="LiveId" clId="{1938F451-E276-4168-A062-517FEF5D1A77}" dt="2019-12-08T20:16:24.714" v="598" actId="478"/>
          <ac:spMkLst>
            <pc:docMk/>
            <pc:sldMk cId="2589412085" sldId="346"/>
            <ac:spMk id="2" creationId="{EA77DDDB-8610-460C-AF00-8E090D713BF7}"/>
          </ac:spMkLst>
        </pc:spChg>
        <pc:spChg chg="add mod">
          <ac:chgData name="Jessyl Cacho" userId="23b0b4d42ae596b9" providerId="LiveId" clId="{1938F451-E276-4168-A062-517FEF5D1A77}" dt="2019-12-08T20:17:21.335" v="617" actId="1076"/>
          <ac:spMkLst>
            <pc:docMk/>
            <pc:sldMk cId="2589412085" sldId="346"/>
            <ac:spMk id="3" creationId="{A41D913D-D292-4731-8557-1EE61E27AE65}"/>
          </ac:spMkLst>
        </pc:spChg>
        <pc:spChg chg="add mod">
          <ac:chgData name="Jessyl Cacho" userId="23b0b4d42ae596b9" providerId="LiveId" clId="{1938F451-E276-4168-A062-517FEF5D1A77}" dt="2019-12-08T20:17:32.218" v="618" actId="1076"/>
          <ac:spMkLst>
            <pc:docMk/>
            <pc:sldMk cId="2589412085" sldId="346"/>
            <ac:spMk id="4" creationId="{E3659053-69BC-4CD2-ACDF-5103C7D2379E}"/>
          </ac:spMkLst>
        </pc:spChg>
        <pc:spChg chg="add mod">
          <ac:chgData name="Jessyl Cacho" userId="23b0b4d42ae596b9" providerId="LiveId" clId="{1938F451-E276-4168-A062-517FEF5D1A77}" dt="2019-12-08T20:26:06.442" v="702" actId="113"/>
          <ac:spMkLst>
            <pc:docMk/>
            <pc:sldMk cId="2589412085" sldId="346"/>
            <ac:spMk id="5" creationId="{2ABC4BB6-E1A1-41C1-92F7-9491B889F8D3}"/>
          </ac:spMkLst>
        </pc:spChg>
        <pc:spChg chg="add mod">
          <ac:chgData name="Jessyl Cacho" userId="23b0b4d42ae596b9" providerId="LiveId" clId="{1938F451-E276-4168-A062-517FEF5D1A77}" dt="2019-12-08T20:19:24.929" v="636" actId="1076"/>
          <ac:spMkLst>
            <pc:docMk/>
            <pc:sldMk cId="2589412085" sldId="346"/>
            <ac:spMk id="7" creationId="{0064E86A-F9B2-4F97-86E2-B525B6D7CA68}"/>
          </ac:spMkLst>
        </pc:spChg>
        <pc:spChg chg="add mod">
          <ac:chgData name="Jessyl Cacho" userId="23b0b4d42ae596b9" providerId="LiveId" clId="{1938F451-E276-4168-A062-517FEF5D1A77}" dt="2019-12-08T20:19:19.641" v="634" actId="14100"/>
          <ac:spMkLst>
            <pc:docMk/>
            <pc:sldMk cId="2589412085" sldId="346"/>
            <ac:spMk id="8" creationId="{6B0DE58D-D65F-417A-8D63-5D49C30C51E3}"/>
          </ac:spMkLst>
        </pc:spChg>
        <pc:spChg chg="add mod">
          <ac:chgData name="Jessyl Cacho" userId="23b0b4d42ae596b9" providerId="LiveId" clId="{1938F451-E276-4168-A062-517FEF5D1A77}" dt="2019-12-08T20:26:10.112" v="703" actId="113"/>
          <ac:spMkLst>
            <pc:docMk/>
            <pc:sldMk cId="2589412085" sldId="346"/>
            <ac:spMk id="9" creationId="{9C64D034-8FCA-4CA6-8443-EEDF523F87BD}"/>
          </ac:spMkLst>
        </pc:spChg>
        <pc:spChg chg="add mod">
          <ac:chgData name="Jessyl Cacho" userId="23b0b4d42ae596b9" providerId="LiveId" clId="{1938F451-E276-4168-A062-517FEF5D1A77}" dt="2019-12-08T20:22:41.105" v="674" actId="1076"/>
          <ac:spMkLst>
            <pc:docMk/>
            <pc:sldMk cId="2589412085" sldId="346"/>
            <ac:spMk id="10" creationId="{3494A61B-0A3F-4FC7-84DA-3B80F7487D5A}"/>
          </ac:spMkLst>
        </pc:spChg>
        <pc:spChg chg="add mod">
          <ac:chgData name="Jessyl Cacho" userId="23b0b4d42ae596b9" providerId="LiveId" clId="{1938F451-E276-4168-A062-517FEF5D1A77}" dt="2019-12-08T20:22:46.079" v="675" actId="1076"/>
          <ac:spMkLst>
            <pc:docMk/>
            <pc:sldMk cId="2589412085" sldId="346"/>
            <ac:spMk id="11" creationId="{C2C4D91B-810D-421F-B160-05BDAE79D080}"/>
          </ac:spMkLst>
        </pc:spChg>
        <pc:picChg chg="add mod">
          <ac:chgData name="Jessyl Cacho" userId="23b0b4d42ae596b9" providerId="LiveId" clId="{1938F451-E276-4168-A062-517FEF5D1A77}" dt="2019-12-08T20:22:20.624" v="670" actId="14100"/>
          <ac:picMkLst>
            <pc:docMk/>
            <pc:sldMk cId="2589412085" sldId="346"/>
            <ac:picMk id="6" creationId="{30DAD3DF-78AC-4E34-82D8-16AF49FE6446}"/>
          </ac:picMkLst>
        </pc:picChg>
        <pc:picChg chg="add mod">
          <ac:chgData name="Jessyl Cacho" userId="23b0b4d42ae596b9" providerId="LiveId" clId="{1938F451-E276-4168-A062-517FEF5D1A77}" dt="2019-12-08T20:22:18.056" v="669" actId="1076"/>
          <ac:picMkLst>
            <pc:docMk/>
            <pc:sldMk cId="2589412085" sldId="346"/>
            <ac:picMk id="12" creationId="{DAAE1EC8-AA83-44BC-AF60-AF0750E9386E}"/>
          </ac:picMkLst>
        </pc:picChg>
      </pc:sldChg>
      <pc:sldChg chg="addSp delSp modSp add">
        <pc:chgData name="Jessyl Cacho" userId="23b0b4d42ae596b9" providerId="LiveId" clId="{1938F451-E276-4168-A062-517FEF5D1A77}" dt="2019-12-08T20:29:33.005" v="737" actId="1076"/>
        <pc:sldMkLst>
          <pc:docMk/>
          <pc:sldMk cId="1218196410" sldId="347"/>
        </pc:sldMkLst>
        <pc:spChg chg="add mod">
          <ac:chgData name="Jessyl Cacho" userId="23b0b4d42ae596b9" providerId="LiveId" clId="{1938F451-E276-4168-A062-517FEF5D1A77}" dt="2019-12-08T20:26:15.496" v="704" actId="113"/>
          <ac:spMkLst>
            <pc:docMk/>
            <pc:sldMk cId="1218196410" sldId="347"/>
            <ac:spMk id="2" creationId="{97DCED89-ADE0-4376-9B85-A83A74464FA0}"/>
          </ac:spMkLst>
        </pc:spChg>
        <pc:spChg chg="del">
          <ac:chgData name="Jessyl Cacho" userId="23b0b4d42ae596b9" providerId="LiveId" clId="{1938F451-E276-4168-A062-517FEF5D1A77}" dt="2019-12-08T20:23:39.085" v="677" actId="478"/>
          <ac:spMkLst>
            <pc:docMk/>
            <pc:sldMk cId="1218196410" sldId="347"/>
            <ac:spMk id="5" creationId="{2ABC4BB6-E1A1-41C1-92F7-9491B889F8D3}"/>
          </ac:spMkLst>
        </pc:spChg>
        <pc:spChg chg="del">
          <ac:chgData name="Jessyl Cacho" userId="23b0b4d42ae596b9" providerId="LiveId" clId="{1938F451-E276-4168-A062-517FEF5D1A77}" dt="2019-12-08T20:23:40.301" v="678" actId="478"/>
          <ac:spMkLst>
            <pc:docMk/>
            <pc:sldMk cId="1218196410" sldId="347"/>
            <ac:spMk id="7" creationId="{0064E86A-F9B2-4F97-86E2-B525B6D7CA68}"/>
          </ac:spMkLst>
        </pc:spChg>
        <pc:spChg chg="del">
          <ac:chgData name="Jessyl Cacho" userId="23b0b4d42ae596b9" providerId="LiveId" clId="{1938F451-E276-4168-A062-517FEF5D1A77}" dt="2019-12-08T20:23:42.702" v="680" actId="478"/>
          <ac:spMkLst>
            <pc:docMk/>
            <pc:sldMk cId="1218196410" sldId="347"/>
            <ac:spMk id="9" creationId="{9C64D034-8FCA-4CA6-8443-EEDF523F87BD}"/>
          </ac:spMkLst>
        </pc:spChg>
        <pc:spChg chg="del">
          <ac:chgData name="Jessyl Cacho" userId="23b0b4d42ae596b9" providerId="LiveId" clId="{1938F451-E276-4168-A062-517FEF5D1A77}" dt="2019-12-08T20:23:43.349" v="681" actId="478"/>
          <ac:spMkLst>
            <pc:docMk/>
            <pc:sldMk cId="1218196410" sldId="347"/>
            <ac:spMk id="10" creationId="{3494A61B-0A3F-4FC7-84DA-3B80F7487D5A}"/>
          </ac:spMkLst>
        </pc:spChg>
        <pc:spChg chg="add mod">
          <ac:chgData name="Jessyl Cacho" userId="23b0b4d42ae596b9" providerId="LiveId" clId="{1938F451-E276-4168-A062-517FEF5D1A77}" dt="2019-12-08T20:25:49.638" v="700" actId="1076"/>
          <ac:spMkLst>
            <pc:docMk/>
            <pc:sldMk cId="1218196410" sldId="347"/>
            <ac:spMk id="13" creationId="{FBECEA9F-2EF8-4E12-996A-B1315FCF8B97}"/>
          </ac:spMkLst>
        </pc:spChg>
        <pc:spChg chg="add del mod">
          <ac:chgData name="Jessyl Cacho" userId="23b0b4d42ae596b9" providerId="LiveId" clId="{1938F451-E276-4168-A062-517FEF5D1A77}" dt="2019-12-08T20:29:22.835" v="735" actId="478"/>
          <ac:spMkLst>
            <pc:docMk/>
            <pc:sldMk cId="1218196410" sldId="347"/>
            <ac:spMk id="14" creationId="{06630DCB-29C0-4B59-B21F-C1868FA4419E}"/>
          </ac:spMkLst>
        </pc:spChg>
        <pc:spChg chg="add mod">
          <ac:chgData name="Jessyl Cacho" userId="23b0b4d42ae596b9" providerId="LiveId" clId="{1938F451-E276-4168-A062-517FEF5D1A77}" dt="2019-12-08T20:29:33.005" v="737" actId="1076"/>
          <ac:spMkLst>
            <pc:docMk/>
            <pc:sldMk cId="1218196410" sldId="347"/>
            <ac:spMk id="17" creationId="{2FFF789C-FC22-43D4-BED4-B63B64D48783}"/>
          </ac:spMkLst>
        </pc:spChg>
        <pc:picChg chg="del">
          <ac:chgData name="Jessyl Cacho" userId="23b0b4d42ae596b9" providerId="LiveId" clId="{1938F451-E276-4168-A062-517FEF5D1A77}" dt="2019-12-08T20:23:41.357" v="679" actId="478"/>
          <ac:picMkLst>
            <pc:docMk/>
            <pc:sldMk cId="1218196410" sldId="347"/>
            <ac:picMk id="6" creationId="{30DAD3DF-78AC-4E34-82D8-16AF49FE6446}"/>
          </ac:picMkLst>
        </pc:picChg>
        <pc:picChg chg="del">
          <ac:chgData name="Jessyl Cacho" userId="23b0b4d42ae596b9" providerId="LiveId" clId="{1938F451-E276-4168-A062-517FEF5D1A77}" dt="2019-12-08T20:23:44.013" v="682" actId="478"/>
          <ac:picMkLst>
            <pc:docMk/>
            <pc:sldMk cId="1218196410" sldId="347"/>
            <ac:picMk id="12" creationId="{DAAE1EC8-AA83-44BC-AF60-AF0750E9386E}"/>
          </ac:picMkLst>
        </pc:picChg>
        <pc:picChg chg="add mod">
          <ac:chgData name="Jessyl Cacho" userId="23b0b4d42ae596b9" providerId="LiveId" clId="{1938F451-E276-4168-A062-517FEF5D1A77}" dt="2019-12-08T20:26:47.414" v="715" actId="14100"/>
          <ac:picMkLst>
            <pc:docMk/>
            <pc:sldMk cId="1218196410" sldId="347"/>
            <ac:picMk id="15" creationId="{B754B1E3-4622-4712-B9B6-28D9D61BCAD6}"/>
          </ac:picMkLst>
        </pc:picChg>
        <pc:picChg chg="add mod">
          <ac:chgData name="Jessyl Cacho" userId="23b0b4d42ae596b9" providerId="LiveId" clId="{1938F451-E276-4168-A062-517FEF5D1A77}" dt="2019-12-08T20:26:44.246" v="714" actId="1076"/>
          <ac:picMkLst>
            <pc:docMk/>
            <pc:sldMk cId="1218196410" sldId="347"/>
            <ac:picMk id="16" creationId="{C9102002-89F7-4137-9427-E372A852D75F}"/>
          </ac:picMkLst>
        </pc:picChg>
      </pc:sldChg>
      <pc:sldChg chg="addSp delSp modSp add">
        <pc:chgData name="Jessyl Cacho" userId="23b0b4d42ae596b9" providerId="LiveId" clId="{1938F451-E276-4168-A062-517FEF5D1A77}" dt="2019-12-08T20:30:22.916" v="745" actId="1076"/>
        <pc:sldMkLst>
          <pc:docMk/>
          <pc:sldMk cId="3446303236" sldId="348"/>
        </pc:sldMkLst>
        <pc:spChg chg="mod">
          <ac:chgData name="Jessyl Cacho" userId="23b0b4d42ae596b9" providerId="LiveId" clId="{1938F451-E276-4168-A062-517FEF5D1A77}" dt="2019-12-08T20:27:40.098" v="721"/>
          <ac:spMkLst>
            <pc:docMk/>
            <pc:sldMk cId="3446303236" sldId="348"/>
            <ac:spMk id="2" creationId="{97DCED89-ADE0-4376-9B85-A83A74464FA0}"/>
          </ac:spMkLst>
        </pc:spChg>
        <pc:spChg chg="add del">
          <ac:chgData name="Jessyl Cacho" userId="23b0b4d42ae596b9" providerId="LiveId" clId="{1938F451-E276-4168-A062-517FEF5D1A77}" dt="2019-12-08T20:28:13.650" v="730" actId="478"/>
          <ac:spMkLst>
            <pc:docMk/>
            <pc:sldMk cId="3446303236" sldId="348"/>
            <ac:spMk id="8" creationId="{6B0DE58D-D65F-417A-8D63-5D49C30C51E3}"/>
          </ac:spMkLst>
        </pc:spChg>
        <pc:spChg chg="mod">
          <ac:chgData name="Jessyl Cacho" userId="23b0b4d42ae596b9" providerId="LiveId" clId="{1938F451-E276-4168-A062-517FEF5D1A77}" dt="2019-12-08T20:28:14.915" v="732" actId="1076"/>
          <ac:spMkLst>
            <pc:docMk/>
            <pc:sldMk cId="3446303236" sldId="348"/>
            <ac:spMk id="13" creationId="{FBECEA9F-2EF8-4E12-996A-B1315FCF8B97}"/>
          </ac:spMkLst>
        </pc:spChg>
        <pc:spChg chg="add del">
          <ac:chgData name="Jessyl Cacho" userId="23b0b4d42ae596b9" providerId="LiveId" clId="{1938F451-E276-4168-A062-517FEF5D1A77}" dt="2019-12-08T20:29:19.315" v="734" actId="478"/>
          <ac:spMkLst>
            <pc:docMk/>
            <pc:sldMk cId="3446303236" sldId="348"/>
            <ac:spMk id="14" creationId="{06630DCB-29C0-4B59-B21F-C1868FA4419E}"/>
          </ac:spMkLst>
        </pc:spChg>
        <pc:picChg chg="add mod">
          <ac:chgData name="Jessyl Cacho" userId="23b0b4d42ae596b9" providerId="LiveId" clId="{1938F451-E276-4168-A062-517FEF5D1A77}" dt="2019-12-08T20:30:22.916" v="745" actId="1076"/>
          <ac:picMkLst>
            <pc:docMk/>
            <pc:sldMk cId="3446303236" sldId="348"/>
            <ac:picMk id="12" creationId="{D7B93415-AAF8-4071-B9BA-3BBCCF5F7188}"/>
          </ac:picMkLst>
        </pc:picChg>
        <pc:picChg chg="del">
          <ac:chgData name="Jessyl Cacho" userId="23b0b4d42ae596b9" providerId="LiveId" clId="{1938F451-E276-4168-A062-517FEF5D1A77}" dt="2019-12-08T20:27:28.012" v="718" actId="478"/>
          <ac:picMkLst>
            <pc:docMk/>
            <pc:sldMk cId="3446303236" sldId="348"/>
            <ac:picMk id="15" creationId="{B754B1E3-4622-4712-B9B6-28D9D61BCAD6}"/>
          </ac:picMkLst>
        </pc:picChg>
        <pc:picChg chg="del">
          <ac:chgData name="Jessyl Cacho" userId="23b0b4d42ae596b9" providerId="LiveId" clId="{1938F451-E276-4168-A062-517FEF5D1A77}" dt="2019-12-08T20:27:27.611" v="717" actId="478"/>
          <ac:picMkLst>
            <pc:docMk/>
            <pc:sldMk cId="3446303236" sldId="348"/>
            <ac:picMk id="16" creationId="{C9102002-89F7-4137-9427-E372A852D75F}"/>
          </ac:picMkLst>
        </pc:picChg>
      </pc:sldChg>
      <pc:sldChg chg="delSp modSp add del ord">
        <pc:chgData name="Jessyl Cacho" userId="23b0b4d42ae596b9" providerId="LiveId" clId="{1938F451-E276-4168-A062-517FEF5D1A77}" dt="2019-12-08T19:25:27.240" v="60" actId="47"/>
        <pc:sldMkLst>
          <pc:docMk/>
          <pc:sldMk cId="1321774036" sldId="378"/>
        </pc:sldMkLst>
        <pc:spChg chg="mod">
          <ac:chgData name="Jessyl Cacho" userId="23b0b4d42ae596b9" providerId="LiveId" clId="{1938F451-E276-4168-A062-517FEF5D1A77}" dt="2019-12-08T19:25:13.124" v="59" actId="1076"/>
          <ac:spMkLst>
            <pc:docMk/>
            <pc:sldMk cId="1321774036" sldId="378"/>
            <ac:spMk id="5" creationId="{9A065C93-6632-45B8-B016-D193861987B3}"/>
          </ac:spMkLst>
        </pc:spChg>
        <pc:picChg chg="del mod">
          <ac:chgData name="Jessyl Cacho" userId="23b0b4d42ae596b9" providerId="LiveId" clId="{1938F451-E276-4168-A062-517FEF5D1A77}" dt="2019-12-08T19:20:09.064" v="17" actId="478"/>
          <ac:picMkLst>
            <pc:docMk/>
            <pc:sldMk cId="1321774036" sldId="378"/>
            <ac:picMk id="2" creationId="{9B999EDE-1DB9-4A95-B2FA-B9EF9232F30E}"/>
          </ac:picMkLst>
        </pc:picChg>
      </pc:sldChg>
      <pc:sldChg chg="add del">
        <pc:chgData name="Jessyl Cacho" userId="23b0b4d42ae596b9" providerId="LiveId" clId="{1938F451-E276-4168-A062-517FEF5D1A77}" dt="2019-12-08T19:14:20.130" v="3" actId="47"/>
        <pc:sldMkLst>
          <pc:docMk/>
          <pc:sldMk cId="3876646394" sldId="531"/>
        </pc:sldMkLst>
      </pc:sldChg>
      <pc:sldMasterChg chg="delSldLayout">
        <pc:chgData name="Jessyl Cacho" userId="23b0b4d42ae596b9" providerId="LiveId" clId="{1938F451-E276-4168-A062-517FEF5D1A77}" dt="2019-12-08T19:18:00.660" v="6" actId="47"/>
        <pc:sldMasterMkLst>
          <pc:docMk/>
          <pc:sldMasterMk cId="2965792245" sldId="2147483648"/>
        </pc:sldMasterMkLst>
        <pc:sldLayoutChg chg="del">
          <pc:chgData name="Jessyl Cacho" userId="23b0b4d42ae596b9" providerId="LiveId" clId="{1938F451-E276-4168-A062-517FEF5D1A77}" dt="2019-12-08T19:17:59.448" v="5" actId="47"/>
          <pc:sldLayoutMkLst>
            <pc:docMk/>
            <pc:sldMasterMk cId="2965792245" sldId="2147483648"/>
            <pc:sldLayoutMk cId="1708443347" sldId="2147483660"/>
          </pc:sldLayoutMkLst>
        </pc:sldLayoutChg>
        <pc:sldLayoutChg chg="del">
          <pc:chgData name="Jessyl Cacho" userId="23b0b4d42ae596b9" providerId="LiveId" clId="{1938F451-E276-4168-A062-517FEF5D1A77}" dt="2019-12-08T19:18:00.660" v="6" actId="47"/>
          <pc:sldLayoutMkLst>
            <pc:docMk/>
            <pc:sldMasterMk cId="2965792245" sldId="2147483648"/>
            <pc:sldLayoutMk cId="2211222539" sldId="2147483661"/>
          </pc:sldLayoutMkLst>
        </pc:sldLayoutChg>
      </pc:sldMasterChg>
      <pc:sldMasterChg chg="delSldLayout modSldLayout">
        <pc:chgData name="Jessyl Cacho" userId="23b0b4d42ae596b9" providerId="LiveId" clId="{1938F451-E276-4168-A062-517FEF5D1A77}" dt="2019-12-08T20:36:21.511" v="840" actId="478"/>
        <pc:sldMasterMkLst>
          <pc:docMk/>
          <pc:sldMasterMk cId="3911835122" sldId="2147483660"/>
        </pc:sldMasterMkLst>
        <pc:sldLayoutChg chg="delSp modSp">
          <pc:chgData name="Jessyl Cacho" userId="23b0b4d42ae596b9" providerId="LiveId" clId="{1938F451-E276-4168-A062-517FEF5D1A77}" dt="2019-12-08T19:36:03.852" v="129" actId="207"/>
          <pc:sldLayoutMkLst>
            <pc:docMk/>
            <pc:sldMasterMk cId="3911835122" sldId="2147483660"/>
            <pc:sldLayoutMk cId="404083767" sldId="2147483661"/>
          </pc:sldLayoutMkLst>
          <pc:spChg chg="mod">
            <ac:chgData name="Jessyl Cacho" userId="23b0b4d42ae596b9" providerId="LiveId" clId="{1938F451-E276-4168-A062-517FEF5D1A77}" dt="2019-12-08T19:35:43.186" v="125" actId="207"/>
            <ac:spMkLst>
              <pc:docMk/>
              <pc:sldMasterMk cId="3911835122" sldId="2147483660"/>
              <pc:sldLayoutMk cId="404083767" sldId="2147483661"/>
              <ac:spMk id="2" creationId="{199AD403-A15F-4A2F-B050-AB874136E732}"/>
            </ac:spMkLst>
          </pc:spChg>
          <pc:spChg chg="mod">
            <ac:chgData name="Jessyl Cacho" userId="23b0b4d42ae596b9" providerId="LiveId" clId="{1938F451-E276-4168-A062-517FEF5D1A77}" dt="2019-12-08T19:35:23.309" v="124" actId="207"/>
            <ac:spMkLst>
              <pc:docMk/>
              <pc:sldMasterMk cId="3911835122" sldId="2147483660"/>
              <pc:sldLayoutMk cId="404083767" sldId="2147483661"/>
              <ac:spMk id="12" creationId="{21FF5BCF-BC53-4C3F-8B7F-7077B35ADCA8}"/>
            </ac:spMkLst>
          </pc:spChg>
          <pc:spChg chg="del">
            <ac:chgData name="Jessyl Cacho" userId="23b0b4d42ae596b9" providerId="LiveId" clId="{1938F451-E276-4168-A062-517FEF5D1A77}" dt="2019-12-08T19:35:56.694" v="127" actId="478"/>
            <ac:spMkLst>
              <pc:docMk/>
              <pc:sldMasterMk cId="3911835122" sldId="2147483660"/>
              <pc:sldLayoutMk cId="404083767" sldId="2147483661"/>
              <ac:spMk id="21" creationId="{8C7B70A1-A813-470C-A829-7CC44559C94F}"/>
            </ac:spMkLst>
          </pc:spChg>
          <pc:spChg chg="del">
            <ac:chgData name="Jessyl Cacho" userId="23b0b4d42ae596b9" providerId="LiveId" clId="{1938F451-E276-4168-A062-517FEF5D1A77}" dt="2019-12-08T19:35:52.034" v="126" actId="478"/>
            <ac:spMkLst>
              <pc:docMk/>
              <pc:sldMasterMk cId="3911835122" sldId="2147483660"/>
              <pc:sldLayoutMk cId="404083767" sldId="2147483661"/>
              <ac:spMk id="23" creationId="{5BB088E3-63C1-423F-A939-150B8E1F87A7}"/>
            </ac:spMkLst>
          </pc:spChg>
          <pc:spChg chg="mod">
            <ac:chgData name="Jessyl Cacho" userId="23b0b4d42ae596b9" providerId="LiveId" clId="{1938F451-E276-4168-A062-517FEF5D1A77}" dt="2019-12-08T19:35:17.852" v="123" actId="207"/>
            <ac:spMkLst>
              <pc:docMk/>
              <pc:sldMasterMk cId="3911835122" sldId="2147483660"/>
              <pc:sldLayoutMk cId="404083767" sldId="2147483661"/>
              <ac:spMk id="28" creationId="{87A7AFAC-3F6D-48D1-A100-148792529BC6}"/>
            </ac:spMkLst>
          </pc:spChg>
          <pc:spChg chg="mod">
            <ac:chgData name="Jessyl Cacho" userId="23b0b4d42ae596b9" providerId="LiveId" clId="{1938F451-E276-4168-A062-517FEF5D1A77}" dt="2019-12-08T19:35:12.436" v="122" actId="2085"/>
            <ac:spMkLst>
              <pc:docMk/>
              <pc:sldMasterMk cId="3911835122" sldId="2147483660"/>
              <pc:sldLayoutMk cId="404083767" sldId="2147483661"/>
              <ac:spMk id="29" creationId="{81A4F88F-4E35-4BB3-AD24-CAC580C12F96}"/>
            </ac:spMkLst>
          </pc:spChg>
          <pc:spChg chg="mod">
            <ac:chgData name="Jessyl Cacho" userId="23b0b4d42ae596b9" providerId="LiveId" clId="{1938F451-E276-4168-A062-517FEF5D1A77}" dt="2019-12-08T19:32:31.837" v="119" actId="2085"/>
            <ac:spMkLst>
              <pc:docMk/>
              <pc:sldMasterMk cId="3911835122" sldId="2147483660"/>
              <pc:sldLayoutMk cId="404083767" sldId="2147483661"/>
              <ac:spMk id="32" creationId="{B0920EEC-7CE3-4708-93D2-53699D17E5E3}"/>
            </ac:spMkLst>
          </pc:spChg>
          <pc:spChg chg="mod">
            <ac:chgData name="Jessyl Cacho" userId="23b0b4d42ae596b9" providerId="LiveId" clId="{1938F451-E276-4168-A062-517FEF5D1A77}" dt="2019-12-08T19:34:15.172" v="120" actId="2085"/>
            <ac:spMkLst>
              <pc:docMk/>
              <pc:sldMasterMk cId="3911835122" sldId="2147483660"/>
              <pc:sldLayoutMk cId="404083767" sldId="2147483661"/>
              <ac:spMk id="33" creationId="{2DF8B751-9294-46D5-B390-5D322195540F}"/>
            </ac:spMkLst>
          </pc:spChg>
          <pc:spChg chg="del">
            <ac:chgData name="Jessyl Cacho" userId="23b0b4d42ae596b9" providerId="LiveId" clId="{1938F451-E276-4168-A062-517FEF5D1A77}" dt="2019-12-08T19:35:57.862" v="128" actId="478"/>
            <ac:spMkLst>
              <pc:docMk/>
              <pc:sldMasterMk cId="3911835122" sldId="2147483660"/>
              <pc:sldLayoutMk cId="404083767" sldId="2147483661"/>
              <ac:spMk id="36" creationId="{2A3D73F7-77EC-4576-B541-20C032F462DC}"/>
            </ac:spMkLst>
          </pc:spChg>
          <pc:spChg chg="mod">
            <ac:chgData name="Jessyl Cacho" userId="23b0b4d42ae596b9" providerId="LiveId" clId="{1938F451-E276-4168-A062-517FEF5D1A77}" dt="2019-12-08T19:36:03.852" v="129" actId="207"/>
            <ac:spMkLst>
              <pc:docMk/>
              <pc:sldMasterMk cId="3911835122" sldId="2147483660"/>
              <pc:sldLayoutMk cId="404083767" sldId="2147483661"/>
              <ac:spMk id="40" creationId="{9F75ED2D-7077-4753-B623-4B9A718EB224}"/>
            </ac:spMkLst>
          </pc:spChg>
        </pc:sldLayoutChg>
        <pc:sldLayoutChg chg="addSp delSp modSp">
          <pc:chgData name="Jessyl Cacho" userId="23b0b4d42ae596b9" providerId="LiveId" clId="{1938F451-E276-4168-A062-517FEF5D1A77}" dt="2019-12-08T20:36:21.511" v="840" actId="478"/>
          <pc:sldLayoutMkLst>
            <pc:docMk/>
            <pc:sldMasterMk cId="3911835122" sldId="2147483660"/>
            <pc:sldLayoutMk cId="2238013680" sldId="2147483671"/>
          </pc:sldLayoutMkLst>
          <pc:spChg chg="del">
            <ac:chgData name="Jessyl Cacho" userId="23b0b4d42ae596b9" providerId="LiveId" clId="{1938F451-E276-4168-A062-517FEF5D1A77}" dt="2019-12-08T19:58:19.147" v="420" actId="478"/>
            <ac:spMkLst>
              <pc:docMk/>
              <pc:sldMasterMk cId="3911835122" sldId="2147483660"/>
              <pc:sldLayoutMk cId="2238013680" sldId="2147483671"/>
              <ac:spMk id="2" creationId="{199AD403-A15F-4A2F-B050-AB874136E732}"/>
            </ac:spMkLst>
          </pc:spChg>
          <pc:spChg chg="mod">
            <ac:chgData name="Jessyl Cacho" userId="23b0b4d42ae596b9" providerId="LiveId" clId="{1938F451-E276-4168-A062-517FEF5D1A77}" dt="2019-12-08T19:59:19.156" v="433" actId="1076"/>
            <ac:spMkLst>
              <pc:docMk/>
              <pc:sldMasterMk cId="3911835122" sldId="2147483660"/>
              <pc:sldLayoutMk cId="2238013680" sldId="2147483671"/>
              <ac:spMk id="12" creationId="{21FF5BCF-BC53-4C3F-8B7F-7077B35ADCA8}"/>
            </ac:spMkLst>
          </pc:spChg>
          <pc:spChg chg="del">
            <ac:chgData name="Jessyl Cacho" userId="23b0b4d42ae596b9" providerId="LiveId" clId="{1938F451-E276-4168-A062-517FEF5D1A77}" dt="2019-12-08T19:58:16.939" v="418" actId="478"/>
            <ac:spMkLst>
              <pc:docMk/>
              <pc:sldMasterMk cId="3911835122" sldId="2147483660"/>
              <pc:sldLayoutMk cId="2238013680" sldId="2147483671"/>
              <ac:spMk id="15" creationId="{4BCD5243-C973-44F2-88E8-A4A6E3387B1F}"/>
            </ac:spMkLst>
          </pc:spChg>
          <pc:spChg chg="del mod">
            <ac:chgData name="Jessyl Cacho" userId="23b0b4d42ae596b9" providerId="LiveId" clId="{1938F451-E276-4168-A062-517FEF5D1A77}" dt="2019-12-08T20:36:21.511" v="840" actId="478"/>
            <ac:spMkLst>
              <pc:docMk/>
              <pc:sldMasterMk cId="3911835122" sldId="2147483660"/>
              <pc:sldLayoutMk cId="2238013680" sldId="2147483671"/>
              <ac:spMk id="28" creationId="{87A7AFAC-3F6D-48D1-A100-148792529BC6}"/>
            </ac:spMkLst>
          </pc:spChg>
          <pc:spChg chg="del mod">
            <ac:chgData name="Jessyl Cacho" userId="23b0b4d42ae596b9" providerId="LiveId" clId="{1938F451-E276-4168-A062-517FEF5D1A77}" dt="2019-12-08T20:36:19.200" v="837" actId="478"/>
            <ac:spMkLst>
              <pc:docMk/>
              <pc:sldMasterMk cId="3911835122" sldId="2147483660"/>
              <pc:sldLayoutMk cId="2238013680" sldId="2147483671"/>
              <ac:spMk id="29" creationId="{81A4F88F-4E35-4BB3-AD24-CAC580C12F96}"/>
            </ac:spMkLst>
          </pc:spChg>
          <pc:spChg chg="mod">
            <ac:chgData name="Jessyl Cacho" userId="23b0b4d42ae596b9" providerId="LiveId" clId="{1938F451-E276-4168-A062-517FEF5D1A77}" dt="2019-12-08T19:59:10.827" v="431" actId="1076"/>
            <ac:spMkLst>
              <pc:docMk/>
              <pc:sldMasterMk cId="3911835122" sldId="2147483660"/>
              <pc:sldLayoutMk cId="2238013680" sldId="2147483671"/>
              <ac:spMk id="30" creationId="{592CE00E-F2AB-4099-8BB8-F109C4F2EFDB}"/>
            </ac:spMkLst>
          </pc:spChg>
          <pc:spChg chg="del mod">
            <ac:chgData name="Jessyl Cacho" userId="23b0b4d42ae596b9" providerId="LiveId" clId="{1938F451-E276-4168-A062-517FEF5D1A77}" dt="2019-12-08T20:36:20.914" v="839" actId="478"/>
            <ac:spMkLst>
              <pc:docMk/>
              <pc:sldMasterMk cId="3911835122" sldId="2147483660"/>
              <pc:sldLayoutMk cId="2238013680" sldId="2147483671"/>
              <ac:spMk id="32" creationId="{B0920EEC-7CE3-4708-93D2-53699D17E5E3}"/>
            </ac:spMkLst>
          </pc:spChg>
          <pc:spChg chg="add del mod">
            <ac:chgData name="Jessyl Cacho" userId="23b0b4d42ae596b9" providerId="LiveId" clId="{1938F451-E276-4168-A062-517FEF5D1A77}" dt="2019-12-08T20:36:20.295" v="838" actId="478"/>
            <ac:spMkLst>
              <pc:docMk/>
              <pc:sldMasterMk cId="3911835122" sldId="2147483660"/>
              <pc:sldLayoutMk cId="2238013680" sldId="2147483671"/>
              <ac:spMk id="33" creationId="{2DF8B751-9294-46D5-B390-5D322195540F}"/>
            </ac:spMkLst>
          </pc:spChg>
          <pc:spChg chg="del">
            <ac:chgData name="Jessyl Cacho" userId="23b0b4d42ae596b9" providerId="LiveId" clId="{1938F451-E276-4168-A062-517FEF5D1A77}" dt="2019-12-08T19:58:17.681" v="419" actId="478"/>
            <ac:spMkLst>
              <pc:docMk/>
              <pc:sldMasterMk cId="3911835122" sldId="2147483660"/>
              <pc:sldLayoutMk cId="2238013680" sldId="2147483671"/>
              <ac:spMk id="40" creationId="{9F75ED2D-7077-4753-B623-4B9A718EB224}"/>
            </ac:spMkLst>
          </pc:spChg>
        </pc:sldLayoutChg>
        <pc:sldLayoutChg chg="delSp modSp">
          <pc:chgData name="Jessyl Cacho" userId="23b0b4d42ae596b9" providerId="LiveId" clId="{1938F451-E276-4168-A062-517FEF5D1A77}" dt="2019-12-08T19:38:43.790" v="161" actId="14100"/>
          <pc:sldLayoutMkLst>
            <pc:docMk/>
            <pc:sldMasterMk cId="3911835122" sldId="2147483660"/>
            <pc:sldLayoutMk cId="2376513565" sldId="2147483673"/>
          </pc:sldLayoutMkLst>
          <pc:spChg chg="del">
            <ac:chgData name="Jessyl Cacho" userId="23b0b4d42ae596b9" providerId="LiveId" clId="{1938F451-E276-4168-A062-517FEF5D1A77}" dt="2019-12-08T19:36:33.373" v="134" actId="478"/>
            <ac:spMkLst>
              <pc:docMk/>
              <pc:sldMasterMk cId="3911835122" sldId="2147483660"/>
              <pc:sldLayoutMk cId="2376513565" sldId="2147483673"/>
              <ac:spMk id="4" creationId="{DC2A0631-3130-4C36-8E5E-80464B1A62A7}"/>
            </ac:spMkLst>
          </pc:spChg>
          <pc:spChg chg="del">
            <ac:chgData name="Jessyl Cacho" userId="23b0b4d42ae596b9" providerId="LiveId" clId="{1938F451-E276-4168-A062-517FEF5D1A77}" dt="2019-12-08T19:36:32.661" v="133" actId="478"/>
            <ac:spMkLst>
              <pc:docMk/>
              <pc:sldMasterMk cId="3911835122" sldId="2147483660"/>
              <pc:sldLayoutMk cId="2376513565" sldId="2147483673"/>
              <ac:spMk id="5" creationId="{79230F82-FE68-4450-98DF-5D29369AEE76}"/>
            </ac:spMkLst>
          </pc:spChg>
          <pc:spChg chg="del">
            <ac:chgData name="Jessyl Cacho" userId="23b0b4d42ae596b9" providerId="LiveId" clId="{1938F451-E276-4168-A062-517FEF5D1A77}" dt="2019-12-08T19:36:36.861" v="135" actId="478"/>
            <ac:spMkLst>
              <pc:docMk/>
              <pc:sldMasterMk cId="3911835122" sldId="2147483660"/>
              <pc:sldLayoutMk cId="2376513565" sldId="2147483673"/>
              <ac:spMk id="6" creationId="{EE6603C1-6E1A-4E4B-9555-31D84B6BDAD9}"/>
            </ac:spMkLst>
          </pc:spChg>
          <pc:spChg chg="mod">
            <ac:chgData name="Jessyl Cacho" userId="23b0b4d42ae596b9" providerId="LiveId" clId="{1938F451-E276-4168-A062-517FEF5D1A77}" dt="2019-12-08T19:38:43.790" v="161" actId="14100"/>
            <ac:spMkLst>
              <pc:docMk/>
              <pc:sldMasterMk cId="3911835122" sldId="2147483660"/>
              <pc:sldLayoutMk cId="2376513565" sldId="2147483673"/>
              <ac:spMk id="7" creationId="{5E5109FC-8CB6-4120-99CF-163DDAB90612}"/>
            </ac:spMkLst>
          </pc:spChg>
          <pc:spChg chg="del">
            <ac:chgData name="Jessyl Cacho" userId="23b0b4d42ae596b9" providerId="LiveId" clId="{1938F451-E276-4168-A062-517FEF5D1A77}" dt="2019-12-08T19:36:31.510" v="132" actId="478"/>
            <ac:spMkLst>
              <pc:docMk/>
              <pc:sldMasterMk cId="3911835122" sldId="2147483660"/>
              <pc:sldLayoutMk cId="2376513565" sldId="2147483673"/>
              <ac:spMk id="18" creationId="{D7B996D2-06BA-413A-BDEE-428A188D3ADF}"/>
            </ac:spMkLst>
          </pc:spChg>
          <pc:spChg chg="del">
            <ac:chgData name="Jessyl Cacho" userId="23b0b4d42ae596b9" providerId="LiveId" clId="{1938F451-E276-4168-A062-517FEF5D1A77}" dt="2019-12-08T19:36:29.149" v="131" actId="478"/>
            <ac:spMkLst>
              <pc:docMk/>
              <pc:sldMasterMk cId="3911835122" sldId="2147483660"/>
              <pc:sldLayoutMk cId="2376513565" sldId="2147483673"/>
              <ac:spMk id="20" creationId="{9462DA56-F882-470A-8F8C-A55B25FD8A7A}"/>
            </ac:spMkLst>
          </pc:spChg>
          <pc:spChg chg="mod">
            <ac:chgData name="Jessyl Cacho" userId="23b0b4d42ae596b9" providerId="LiveId" clId="{1938F451-E276-4168-A062-517FEF5D1A77}" dt="2019-12-08T19:36:52.259" v="137" actId="207"/>
            <ac:spMkLst>
              <pc:docMk/>
              <pc:sldMasterMk cId="3911835122" sldId="2147483660"/>
              <pc:sldLayoutMk cId="2376513565" sldId="2147483673"/>
              <ac:spMk id="43" creationId="{0162C508-E081-418C-A19D-15A59388C43A}"/>
            </ac:spMkLst>
          </pc:spChg>
          <pc:spChg chg="mod">
            <ac:chgData name="Jessyl Cacho" userId="23b0b4d42ae596b9" providerId="LiveId" clId="{1938F451-E276-4168-A062-517FEF5D1A77}" dt="2019-12-08T19:36:48.908" v="136" actId="207"/>
            <ac:spMkLst>
              <pc:docMk/>
              <pc:sldMasterMk cId="3911835122" sldId="2147483660"/>
              <pc:sldLayoutMk cId="2376513565" sldId="2147483673"/>
              <ac:spMk id="44" creationId="{2A710D7D-FC65-4BF6-BDA4-E59B01AD6FBC}"/>
            </ac:spMkLst>
          </pc:spChg>
          <pc:spChg chg="mod">
            <ac:chgData name="Jessyl Cacho" userId="23b0b4d42ae596b9" providerId="LiveId" clId="{1938F451-E276-4168-A062-517FEF5D1A77}" dt="2019-12-08T19:36:56.068" v="138" actId="207"/>
            <ac:spMkLst>
              <pc:docMk/>
              <pc:sldMasterMk cId="3911835122" sldId="2147483660"/>
              <pc:sldLayoutMk cId="2376513565" sldId="2147483673"/>
              <ac:spMk id="45" creationId="{18811B6B-BBB0-4D69-AEF8-AD0A7F9A4B57}"/>
            </ac:spMkLst>
          </pc:spChg>
          <pc:spChg chg="mod">
            <ac:chgData name="Jessyl Cacho" userId="23b0b4d42ae596b9" providerId="LiveId" clId="{1938F451-E276-4168-A062-517FEF5D1A77}" dt="2019-12-08T19:37:05.236" v="140" actId="207"/>
            <ac:spMkLst>
              <pc:docMk/>
              <pc:sldMasterMk cId="3911835122" sldId="2147483660"/>
              <pc:sldLayoutMk cId="2376513565" sldId="2147483673"/>
              <ac:spMk id="48" creationId="{2F290D8B-987A-4555-890C-F3CD026BF7BF}"/>
            </ac:spMkLst>
          </pc:spChg>
          <pc:spChg chg="mod">
            <ac:chgData name="Jessyl Cacho" userId="23b0b4d42ae596b9" providerId="LiveId" clId="{1938F451-E276-4168-A062-517FEF5D1A77}" dt="2019-12-08T19:37:01.883" v="139" actId="207"/>
            <ac:spMkLst>
              <pc:docMk/>
              <pc:sldMasterMk cId="3911835122" sldId="2147483660"/>
              <pc:sldLayoutMk cId="2376513565" sldId="2147483673"/>
              <ac:spMk id="49" creationId="{6139C5E6-5A04-4458-8EF9-628BFBA73A92}"/>
            </ac:spMkLst>
          </pc:spChg>
        </pc:sldLayoutChg>
        <pc:sldLayoutChg chg="del">
          <pc:chgData name="Jessyl Cacho" userId="23b0b4d42ae596b9" providerId="LiveId" clId="{1938F451-E276-4168-A062-517FEF5D1A77}" dt="2019-12-08T19:20:11.315" v="18" actId="47"/>
          <pc:sldLayoutMkLst>
            <pc:docMk/>
            <pc:sldMasterMk cId="3911835122" sldId="2147483660"/>
            <pc:sldLayoutMk cId="139419620" sldId="2147483680"/>
          </pc:sldLayoutMkLst>
        </pc:sldLayoutChg>
        <pc:sldLayoutChg chg="del">
          <pc:chgData name="Jessyl Cacho" userId="23b0b4d42ae596b9" providerId="LiveId" clId="{1938F451-E276-4168-A062-517FEF5D1A77}" dt="2019-12-08T19:25:27.240" v="60" actId="47"/>
          <pc:sldLayoutMkLst>
            <pc:docMk/>
            <pc:sldMasterMk cId="3911835122" sldId="2147483660"/>
            <pc:sldLayoutMk cId="847020407" sldId="2147483680"/>
          </pc:sldLayoutMkLst>
        </pc:sldLayoutChg>
        <pc:sldLayoutChg chg="del">
          <pc:chgData name="Jessyl Cacho" userId="23b0b4d42ae596b9" providerId="LiveId" clId="{1938F451-E276-4168-A062-517FEF5D1A77}" dt="2019-12-08T19:36:15.644" v="130" actId="47"/>
          <pc:sldLayoutMkLst>
            <pc:docMk/>
            <pc:sldMasterMk cId="3911835122" sldId="2147483660"/>
            <pc:sldLayoutMk cId="992779043" sldId="2147483680"/>
          </pc:sldLayoutMkLst>
        </pc:sldLayoutChg>
        <pc:sldLayoutChg chg="del">
          <pc:chgData name="Jessyl Cacho" userId="23b0b4d42ae596b9" providerId="LiveId" clId="{1938F451-E276-4168-A062-517FEF5D1A77}" dt="2019-12-08T19:26:31.839" v="67" actId="47"/>
          <pc:sldLayoutMkLst>
            <pc:docMk/>
            <pc:sldMasterMk cId="3911835122" sldId="2147483660"/>
            <pc:sldLayoutMk cId="3668510380" sldId="2147483680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A94770C-F56C-475A-8FD1-166C8852A33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DF6FA03-630D-49DC-A923-1D1263CBF22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8BD2C8-AE0C-4E5F-8432-4284CC19D81C}" type="datetimeFigureOut">
              <a:rPr lang="en-GB" smtClean="0"/>
              <a:t>11/12/2019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A49A2E-3140-49E7-9978-2E72B6DF72C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1620A4-DD95-4E17-8E31-6E3DA65B6D5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FE8B58-A4DA-416F-9A62-7D435CBFF7C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47966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B2324-2EDB-4161-8E43-7FB606E1F072}" type="datetimeFigureOut">
              <a:rPr lang="en-GB" smtClean="0"/>
              <a:t>11/12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D4A62A-B967-4553-8255-09F720E62F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63099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D4A62A-B967-4553-8255-09F720E62FC9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78474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AD403-A15F-4A2F-B050-AB874136E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8588" y="1436921"/>
            <a:ext cx="5690680" cy="1517356"/>
          </a:xfrm>
        </p:spPr>
        <p:txBody>
          <a:bodyPr>
            <a:noAutofit/>
          </a:bodyPr>
          <a:lstStyle>
            <a:lvl1pPr>
              <a:defRPr sz="6000">
                <a:solidFill>
                  <a:srgbClr val="1A4E66"/>
                </a:solidFill>
              </a:defRPr>
            </a:lvl1pPr>
          </a:lstStyle>
          <a:p>
            <a:r>
              <a:rPr lang="en-US"/>
              <a:t>PRESENTATION</a:t>
            </a:r>
            <a:br>
              <a:rPr lang="en-US"/>
            </a:br>
            <a:r>
              <a:rPr lang="en-US"/>
              <a:t>TITLE    </a:t>
            </a:r>
            <a:endParaRPr lang="ru-RU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87A7AFAC-3F6D-48D1-A100-148792529BC6}"/>
              </a:ext>
            </a:extLst>
          </p:cNvPr>
          <p:cNvSpPr/>
          <p:nvPr/>
        </p:nvSpPr>
        <p:spPr>
          <a:xfrm>
            <a:off x="7967504" y="5429784"/>
            <a:ext cx="736673" cy="736673"/>
          </a:xfrm>
          <a:custGeom>
            <a:avLst/>
            <a:gdLst>
              <a:gd name="connsiteX0" fmla="*/ 372146 w 736672"/>
              <a:gd name="connsiteY0" fmla="*/ 731592 h 736672"/>
              <a:gd name="connsiteX1" fmla="*/ 731592 w 736672"/>
              <a:gd name="connsiteY1" fmla="*/ 372147 h 736672"/>
              <a:gd name="connsiteX2" fmla="*/ 372146 w 736672"/>
              <a:gd name="connsiteY2" fmla="*/ 12701 h 736672"/>
              <a:gd name="connsiteX3" fmla="*/ 12701 w 736672"/>
              <a:gd name="connsiteY3" fmla="*/ 372147 h 736672"/>
              <a:gd name="connsiteX4" fmla="*/ 372146 w 736672"/>
              <a:gd name="connsiteY4" fmla="*/ 731592 h 736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6672" h="736672">
                <a:moveTo>
                  <a:pt x="372146" y="731592"/>
                </a:moveTo>
                <a:cubicBezTo>
                  <a:pt x="570286" y="731592"/>
                  <a:pt x="731592" y="570286"/>
                  <a:pt x="731592" y="372147"/>
                </a:cubicBezTo>
                <a:cubicBezTo>
                  <a:pt x="731592" y="174007"/>
                  <a:pt x="570286" y="12701"/>
                  <a:pt x="372146" y="12701"/>
                </a:cubicBezTo>
                <a:cubicBezTo>
                  <a:pt x="174007" y="12701"/>
                  <a:pt x="12701" y="174007"/>
                  <a:pt x="12701" y="372147"/>
                </a:cubicBezTo>
                <a:cubicBezTo>
                  <a:pt x="12701" y="570286"/>
                  <a:pt x="174007" y="731592"/>
                  <a:pt x="372146" y="731592"/>
                </a:cubicBezTo>
              </a:path>
            </a:pathLst>
          </a:custGeom>
          <a:gradFill>
            <a:gsLst>
              <a:gs pos="0">
                <a:schemeClr val="bg1">
                  <a:lumMod val="50000"/>
                </a:schemeClr>
              </a:gs>
              <a:gs pos="74000">
                <a:schemeClr val="bg2">
                  <a:lumMod val="60000"/>
                  <a:lumOff val="40000"/>
                </a:schemeClr>
              </a:gs>
              <a:gs pos="83000">
                <a:schemeClr val="bg2">
                  <a:lumMod val="40000"/>
                  <a:lumOff val="60000"/>
                </a:schemeClr>
              </a:gs>
              <a:gs pos="100000">
                <a:schemeClr val="bg1"/>
              </a:gs>
            </a:gsLst>
            <a:lin ang="54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81A4F88F-4E35-4BB3-AD24-CAC580C12F96}"/>
              </a:ext>
            </a:extLst>
          </p:cNvPr>
          <p:cNvSpPr/>
          <p:nvPr/>
        </p:nvSpPr>
        <p:spPr>
          <a:xfrm>
            <a:off x="9029960" y="3463631"/>
            <a:ext cx="3175313" cy="2946690"/>
          </a:xfrm>
          <a:custGeom>
            <a:avLst/>
            <a:gdLst>
              <a:gd name="connsiteX0" fmla="*/ 3162808 w 3175312"/>
              <a:gd name="connsiteY0" fmla="*/ 12701 h 2946690"/>
              <a:gd name="connsiteX1" fmla="*/ 487925 w 3175312"/>
              <a:gd name="connsiteY1" fmla="*/ 1331091 h 2946690"/>
              <a:gd name="connsiteX2" fmla="*/ 113238 w 3175312"/>
              <a:gd name="connsiteY2" fmla="*/ 2433559 h 2946690"/>
              <a:gd name="connsiteX3" fmla="*/ 127209 w 3175312"/>
              <a:gd name="connsiteY3" fmla="*/ 2461502 h 2946690"/>
              <a:gd name="connsiteX4" fmla="*/ 1229677 w 3175312"/>
              <a:gd name="connsiteY4" fmla="*/ 2836189 h 2946690"/>
              <a:gd name="connsiteX5" fmla="*/ 3162808 w 3175312"/>
              <a:gd name="connsiteY5" fmla="*/ 1882325 h 2946690"/>
              <a:gd name="connsiteX6" fmla="*/ 3162808 w 3175312"/>
              <a:gd name="connsiteY6" fmla="*/ 12701 h 2946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75312" h="2946690">
                <a:moveTo>
                  <a:pt x="3162808" y="12701"/>
                </a:moveTo>
                <a:lnTo>
                  <a:pt x="487925" y="1331091"/>
                </a:lnTo>
                <a:cubicBezTo>
                  <a:pt x="487925" y="1331091"/>
                  <a:pt x="-250018" y="1695617"/>
                  <a:pt x="113238" y="2433559"/>
                </a:cubicBezTo>
                <a:lnTo>
                  <a:pt x="127209" y="2461502"/>
                </a:lnTo>
                <a:cubicBezTo>
                  <a:pt x="127209" y="2461502"/>
                  <a:pt x="491735" y="3199445"/>
                  <a:pt x="1229677" y="2836189"/>
                </a:cubicBezTo>
                <a:lnTo>
                  <a:pt x="3162808" y="1882325"/>
                </a:lnTo>
                <a:lnTo>
                  <a:pt x="3162808" y="12701"/>
                </a:lnTo>
                <a:close/>
              </a:path>
            </a:pathLst>
          </a:custGeom>
          <a:gradFill>
            <a:gsLst>
              <a:gs pos="0">
                <a:schemeClr val="bg2">
                  <a:lumMod val="50000"/>
                </a:schemeClr>
              </a:gs>
              <a:gs pos="74000">
                <a:schemeClr val="bg2">
                  <a:lumMod val="60000"/>
                  <a:lumOff val="40000"/>
                </a:schemeClr>
              </a:gs>
              <a:gs pos="83000">
                <a:schemeClr val="bg2">
                  <a:lumMod val="40000"/>
                  <a:lumOff val="60000"/>
                </a:schemeClr>
              </a:gs>
              <a:gs pos="100000">
                <a:schemeClr val="bg1"/>
              </a:gs>
            </a:gsLst>
            <a:lin ang="54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592CE00E-F2AB-4099-8BB8-F109C4F2EFDB}"/>
              </a:ext>
            </a:extLst>
          </p:cNvPr>
          <p:cNvSpPr/>
          <p:nvPr/>
        </p:nvSpPr>
        <p:spPr>
          <a:xfrm>
            <a:off x="11043829" y="4566099"/>
            <a:ext cx="1155814" cy="863685"/>
          </a:xfrm>
          <a:custGeom>
            <a:avLst/>
            <a:gdLst>
              <a:gd name="connsiteX0" fmla="*/ 1148938 w 1155813"/>
              <a:gd name="connsiteY0" fmla="*/ 12701 h 863685"/>
              <a:gd name="connsiteX1" fmla="*/ 173482 w 1155813"/>
              <a:gd name="connsiteY1" fmla="*/ 494079 h 863685"/>
              <a:gd name="connsiteX2" fmla="*/ 28688 w 1155813"/>
              <a:gd name="connsiteY2" fmla="*/ 759535 h 863685"/>
              <a:gd name="connsiteX3" fmla="*/ 31228 w 1155813"/>
              <a:gd name="connsiteY3" fmla="*/ 765885 h 863685"/>
              <a:gd name="connsiteX4" fmla="*/ 329707 w 1155813"/>
              <a:gd name="connsiteY4" fmla="*/ 812880 h 863685"/>
              <a:gd name="connsiteX5" fmla="*/ 1147668 w 1155813"/>
              <a:gd name="connsiteY5" fmla="*/ 408980 h 863685"/>
              <a:gd name="connsiteX6" fmla="*/ 1147668 w 1155813"/>
              <a:gd name="connsiteY6" fmla="*/ 12701 h 863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55813" h="863685">
                <a:moveTo>
                  <a:pt x="1148938" y="12701"/>
                </a:moveTo>
                <a:lnTo>
                  <a:pt x="173482" y="494079"/>
                </a:lnTo>
                <a:cubicBezTo>
                  <a:pt x="173482" y="494079"/>
                  <a:pt x="-47520" y="603309"/>
                  <a:pt x="28688" y="759535"/>
                </a:cubicBezTo>
                <a:lnTo>
                  <a:pt x="31228" y="765885"/>
                </a:lnTo>
                <a:cubicBezTo>
                  <a:pt x="31228" y="765885"/>
                  <a:pt x="108705" y="922111"/>
                  <a:pt x="329707" y="812880"/>
                </a:cubicBezTo>
                <a:lnTo>
                  <a:pt x="1147668" y="408980"/>
                </a:lnTo>
                <a:lnTo>
                  <a:pt x="1147668" y="12701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B0920EEC-7CE3-4708-93D2-53699D17E5E3}"/>
              </a:ext>
            </a:extLst>
          </p:cNvPr>
          <p:cNvSpPr/>
          <p:nvPr/>
        </p:nvSpPr>
        <p:spPr>
          <a:xfrm>
            <a:off x="10743661" y="-1689"/>
            <a:ext cx="1447943" cy="1003399"/>
          </a:xfrm>
          <a:custGeom>
            <a:avLst/>
            <a:gdLst>
              <a:gd name="connsiteX0" fmla="*/ 1446147 w 1447942"/>
              <a:gd name="connsiteY0" fmla="*/ 12701 h 1003398"/>
              <a:gd name="connsiteX1" fmla="*/ 173482 w 1447942"/>
              <a:gd name="connsiteY1" fmla="*/ 640143 h 1003398"/>
              <a:gd name="connsiteX2" fmla="*/ 28688 w 1447942"/>
              <a:gd name="connsiteY2" fmla="*/ 905599 h 1003398"/>
              <a:gd name="connsiteX3" fmla="*/ 31227 w 1447942"/>
              <a:gd name="connsiteY3" fmla="*/ 911950 h 1003398"/>
              <a:gd name="connsiteX4" fmla="*/ 329707 w 1447942"/>
              <a:gd name="connsiteY4" fmla="*/ 958944 h 1003398"/>
              <a:gd name="connsiteX5" fmla="*/ 1446147 w 1447942"/>
              <a:gd name="connsiteY5" fmla="*/ 408980 h 1003398"/>
              <a:gd name="connsiteX6" fmla="*/ 1446147 w 1447942"/>
              <a:gd name="connsiteY6" fmla="*/ 12701 h 100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47942" h="1003398">
                <a:moveTo>
                  <a:pt x="1446147" y="12701"/>
                </a:moveTo>
                <a:lnTo>
                  <a:pt x="173482" y="640143"/>
                </a:lnTo>
                <a:cubicBezTo>
                  <a:pt x="173482" y="640143"/>
                  <a:pt x="-47520" y="749374"/>
                  <a:pt x="28688" y="905599"/>
                </a:cubicBezTo>
                <a:lnTo>
                  <a:pt x="31227" y="911950"/>
                </a:lnTo>
                <a:cubicBezTo>
                  <a:pt x="31227" y="911950"/>
                  <a:pt x="108705" y="1068175"/>
                  <a:pt x="329707" y="958944"/>
                </a:cubicBezTo>
                <a:lnTo>
                  <a:pt x="1446147" y="408980"/>
                </a:lnTo>
                <a:lnTo>
                  <a:pt x="1446147" y="12701"/>
                </a:lnTo>
                <a:close/>
              </a:path>
            </a:pathLst>
          </a:custGeom>
          <a:gradFill>
            <a:gsLst>
              <a:gs pos="0">
                <a:schemeClr val="bg1">
                  <a:lumMod val="50000"/>
                </a:schemeClr>
              </a:gs>
              <a:gs pos="74000">
                <a:schemeClr val="bg2">
                  <a:lumMod val="60000"/>
                  <a:lumOff val="40000"/>
                </a:schemeClr>
              </a:gs>
              <a:gs pos="83000">
                <a:schemeClr val="bg2">
                  <a:lumMod val="40000"/>
                  <a:lumOff val="60000"/>
                </a:schemeClr>
              </a:gs>
              <a:gs pos="100000">
                <a:schemeClr val="bg1"/>
              </a:gs>
            </a:gsLst>
            <a:lin ang="54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2DF8B751-9294-46D5-B390-5D322195540F}"/>
              </a:ext>
            </a:extLst>
          </p:cNvPr>
          <p:cNvSpPr/>
          <p:nvPr/>
        </p:nvSpPr>
        <p:spPr>
          <a:xfrm>
            <a:off x="6536780" y="-12701"/>
            <a:ext cx="4978890" cy="2133810"/>
          </a:xfrm>
          <a:custGeom>
            <a:avLst/>
            <a:gdLst>
              <a:gd name="connsiteX0" fmla="*/ 2515401 w 4978890"/>
              <a:gd name="connsiteY0" fmla="*/ 12701 h 2133810"/>
              <a:gd name="connsiteX1" fmla="*/ 371430 w 4978890"/>
              <a:gd name="connsiteY1" fmla="*/ 1069445 h 2133810"/>
              <a:gd name="connsiteX2" fmla="*/ 72951 w 4978890"/>
              <a:gd name="connsiteY2" fmla="*/ 1811198 h 2133810"/>
              <a:gd name="connsiteX3" fmla="*/ 81841 w 4978890"/>
              <a:gd name="connsiteY3" fmla="*/ 1828980 h 2133810"/>
              <a:gd name="connsiteX4" fmla="*/ 851538 w 4978890"/>
              <a:gd name="connsiteY4" fmla="*/ 2043631 h 2133810"/>
              <a:gd name="connsiteX5" fmla="*/ 4968013 w 4978890"/>
              <a:gd name="connsiteY5" fmla="*/ 12701 h 2133810"/>
              <a:gd name="connsiteX6" fmla="*/ 2515401 w 4978890"/>
              <a:gd name="connsiteY6" fmla="*/ 12701 h 2133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78890" h="2133810">
                <a:moveTo>
                  <a:pt x="2515401" y="12701"/>
                </a:moveTo>
                <a:lnTo>
                  <a:pt x="371430" y="1069445"/>
                </a:lnTo>
                <a:cubicBezTo>
                  <a:pt x="371430" y="1069445"/>
                  <a:pt x="-163293" y="1333631"/>
                  <a:pt x="72951" y="1811198"/>
                </a:cubicBezTo>
                <a:lnTo>
                  <a:pt x="81841" y="1828980"/>
                </a:lnTo>
                <a:cubicBezTo>
                  <a:pt x="81841" y="1828980"/>
                  <a:pt x="316814" y="2306547"/>
                  <a:pt x="851538" y="2043631"/>
                </a:cubicBezTo>
                <a:lnTo>
                  <a:pt x="4968013" y="12701"/>
                </a:lnTo>
                <a:lnTo>
                  <a:pt x="2515401" y="12701"/>
                </a:lnTo>
                <a:close/>
              </a:path>
            </a:pathLst>
          </a:custGeom>
          <a:gradFill>
            <a:gsLst>
              <a:gs pos="0">
                <a:schemeClr val="bg2">
                  <a:lumMod val="50000"/>
                </a:schemeClr>
              </a:gs>
              <a:gs pos="74000">
                <a:schemeClr val="bg2">
                  <a:lumMod val="60000"/>
                  <a:lumOff val="40000"/>
                </a:schemeClr>
              </a:gs>
              <a:gs pos="83000">
                <a:schemeClr val="bg2">
                  <a:lumMod val="40000"/>
                  <a:lumOff val="60000"/>
                </a:schemeClr>
              </a:gs>
              <a:gs pos="100000">
                <a:schemeClr val="bg1"/>
              </a:gs>
            </a:gsLst>
            <a:lin ang="54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E0F651C6-BE74-4133-ABA8-316072D4F5B5}"/>
              </a:ext>
            </a:extLst>
          </p:cNvPr>
          <p:cNvSpPr/>
          <p:nvPr/>
        </p:nvSpPr>
        <p:spPr>
          <a:xfrm>
            <a:off x="6518963" y="-12701"/>
            <a:ext cx="5029695" cy="2146511"/>
          </a:xfrm>
          <a:custGeom>
            <a:avLst/>
            <a:gdLst>
              <a:gd name="connsiteX0" fmla="*/ 4942646 w 5029695"/>
              <a:gd name="connsiteY0" fmla="*/ 12701 h 2146511"/>
              <a:gd name="connsiteX1" fmla="*/ 860464 w 5029695"/>
              <a:gd name="connsiteY1" fmla="*/ 2025849 h 2146511"/>
              <a:gd name="connsiteX2" fmla="*/ 295258 w 5029695"/>
              <a:gd name="connsiteY2" fmla="*/ 2019499 h 2146511"/>
              <a:gd name="connsiteX3" fmla="*/ 116171 w 5029695"/>
              <a:gd name="connsiteY3" fmla="*/ 1820089 h 2146511"/>
              <a:gd name="connsiteX4" fmla="*/ 107280 w 5029695"/>
              <a:gd name="connsiteY4" fmla="*/ 1802307 h 2146511"/>
              <a:gd name="connsiteX5" fmla="*/ 165705 w 5029695"/>
              <a:gd name="connsiteY5" fmla="*/ 1273935 h 2146511"/>
              <a:gd name="connsiteX6" fmla="*/ 398138 w 5029695"/>
              <a:gd name="connsiteY6" fmla="*/ 1085957 h 2146511"/>
              <a:gd name="connsiteX7" fmla="*/ 2576402 w 5029695"/>
              <a:gd name="connsiteY7" fmla="*/ 12701 h 2146511"/>
              <a:gd name="connsiteX8" fmla="*/ 2490034 w 5029695"/>
              <a:gd name="connsiteY8" fmla="*/ 12701 h 2146511"/>
              <a:gd name="connsiteX9" fmla="*/ 381626 w 5029695"/>
              <a:gd name="connsiteY9" fmla="*/ 1052934 h 2146511"/>
              <a:gd name="connsiteX10" fmla="*/ 137762 w 5029695"/>
              <a:gd name="connsiteY10" fmla="*/ 1249803 h 2146511"/>
              <a:gd name="connsiteX11" fmla="*/ 74256 w 5029695"/>
              <a:gd name="connsiteY11" fmla="*/ 1820089 h 2146511"/>
              <a:gd name="connsiteX12" fmla="*/ 83147 w 5029695"/>
              <a:gd name="connsiteY12" fmla="*/ 1837871 h 2146511"/>
              <a:gd name="connsiteX13" fmla="*/ 273666 w 5029695"/>
              <a:gd name="connsiteY13" fmla="*/ 2051252 h 2146511"/>
              <a:gd name="connsiteX14" fmla="*/ 564525 w 5029695"/>
              <a:gd name="connsiteY14" fmla="*/ 2141431 h 2146511"/>
              <a:gd name="connsiteX15" fmla="*/ 878246 w 5029695"/>
              <a:gd name="connsiteY15" fmla="*/ 2060143 h 2146511"/>
              <a:gd name="connsiteX16" fmla="*/ 5029014 w 5029695"/>
              <a:gd name="connsiteY16" fmla="*/ 12701 h 2146511"/>
              <a:gd name="connsiteX17" fmla="*/ 4942646 w 5029695"/>
              <a:gd name="connsiteY17" fmla="*/ 12701 h 2146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029695" h="2146511">
                <a:moveTo>
                  <a:pt x="4942646" y="12701"/>
                </a:moveTo>
                <a:lnTo>
                  <a:pt x="860464" y="2025849"/>
                </a:lnTo>
                <a:cubicBezTo>
                  <a:pt x="645812" y="2131270"/>
                  <a:pt x="456564" y="2130000"/>
                  <a:pt x="295258" y="2019499"/>
                </a:cubicBezTo>
                <a:cubicBezTo>
                  <a:pt x="174596" y="1936941"/>
                  <a:pt x="116171" y="1821359"/>
                  <a:pt x="116171" y="1820089"/>
                </a:cubicBezTo>
                <a:lnTo>
                  <a:pt x="107280" y="1802307"/>
                </a:lnTo>
                <a:cubicBezTo>
                  <a:pt x="13290" y="1611789"/>
                  <a:pt x="32342" y="1433971"/>
                  <a:pt x="165705" y="1273935"/>
                </a:cubicBezTo>
                <a:cubicBezTo>
                  <a:pt x="266045" y="1153274"/>
                  <a:pt x="395598" y="1087227"/>
                  <a:pt x="398138" y="1085957"/>
                </a:cubicBezTo>
                <a:lnTo>
                  <a:pt x="2576402" y="12701"/>
                </a:lnTo>
                <a:lnTo>
                  <a:pt x="2490034" y="12701"/>
                </a:lnTo>
                <a:lnTo>
                  <a:pt x="381626" y="1052934"/>
                </a:lnTo>
                <a:cubicBezTo>
                  <a:pt x="376546" y="1055474"/>
                  <a:pt x="243183" y="1121520"/>
                  <a:pt x="137762" y="1249803"/>
                </a:cubicBezTo>
                <a:cubicBezTo>
                  <a:pt x="38693" y="1369195"/>
                  <a:pt x="-51486" y="1564794"/>
                  <a:pt x="74256" y="1820089"/>
                </a:cubicBezTo>
                <a:lnTo>
                  <a:pt x="83147" y="1837871"/>
                </a:lnTo>
                <a:cubicBezTo>
                  <a:pt x="85687" y="1842952"/>
                  <a:pt x="145383" y="1962343"/>
                  <a:pt x="273666" y="2051252"/>
                </a:cubicBezTo>
                <a:cubicBezTo>
                  <a:pt x="342253" y="2098247"/>
                  <a:pt x="440053" y="2141431"/>
                  <a:pt x="564525" y="2141431"/>
                </a:cubicBezTo>
                <a:cubicBezTo>
                  <a:pt x="654703" y="2141431"/>
                  <a:pt x="758854" y="2119839"/>
                  <a:pt x="878246" y="2060143"/>
                </a:cubicBezTo>
                <a:lnTo>
                  <a:pt x="5029014" y="12701"/>
                </a:lnTo>
                <a:lnTo>
                  <a:pt x="4942646" y="12701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0" name="Graphic 37">
            <a:extLst>
              <a:ext uri="{FF2B5EF4-FFF2-40B4-BE49-F238E27FC236}">
                <a16:creationId xmlns:a16="http://schemas.microsoft.com/office/drawing/2014/main" id="{9F75ED2D-7077-4753-B623-4B9A718EB224}"/>
              </a:ext>
            </a:extLst>
          </p:cNvPr>
          <p:cNvSpPr/>
          <p:nvPr/>
        </p:nvSpPr>
        <p:spPr>
          <a:xfrm>
            <a:off x="895717" y="3124629"/>
            <a:ext cx="2158296" cy="151200"/>
          </a:xfrm>
          <a:custGeom>
            <a:avLst/>
            <a:gdLst>
              <a:gd name="connsiteX0" fmla="*/ 2087180 w 2158295"/>
              <a:gd name="connsiteY0" fmla="*/ 153601 h 165045"/>
              <a:gd name="connsiteX1" fmla="*/ 82504 w 2158295"/>
              <a:gd name="connsiteY1" fmla="*/ 153601 h 165045"/>
              <a:gd name="connsiteX2" fmla="*/ 12677 w 2158295"/>
              <a:gd name="connsiteY2" fmla="*/ 83774 h 165045"/>
              <a:gd name="connsiteX3" fmla="*/ 12677 w 2158295"/>
              <a:gd name="connsiteY3" fmla="*/ 83774 h 165045"/>
              <a:gd name="connsiteX4" fmla="*/ 82504 w 2158295"/>
              <a:gd name="connsiteY4" fmla="*/ 12677 h 165045"/>
              <a:gd name="connsiteX5" fmla="*/ 2087180 w 2158295"/>
              <a:gd name="connsiteY5" fmla="*/ 12677 h 165045"/>
              <a:gd name="connsiteX6" fmla="*/ 2157008 w 2158295"/>
              <a:gd name="connsiteY6" fmla="*/ 82504 h 165045"/>
              <a:gd name="connsiteX7" fmla="*/ 2157008 w 2158295"/>
              <a:gd name="connsiteY7" fmla="*/ 82504 h 165045"/>
              <a:gd name="connsiteX8" fmla="*/ 2087180 w 2158295"/>
              <a:gd name="connsiteY8" fmla="*/ 153601 h 165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58295" h="165045">
                <a:moveTo>
                  <a:pt x="2087180" y="153601"/>
                </a:moveTo>
                <a:lnTo>
                  <a:pt x="82504" y="153601"/>
                </a:lnTo>
                <a:cubicBezTo>
                  <a:pt x="44417" y="153601"/>
                  <a:pt x="12677" y="121861"/>
                  <a:pt x="12677" y="83774"/>
                </a:cubicBezTo>
                <a:lnTo>
                  <a:pt x="12677" y="83774"/>
                </a:lnTo>
                <a:cubicBezTo>
                  <a:pt x="12677" y="44417"/>
                  <a:pt x="44417" y="12677"/>
                  <a:pt x="82504" y="12677"/>
                </a:cubicBezTo>
                <a:lnTo>
                  <a:pt x="2087180" y="12677"/>
                </a:lnTo>
                <a:cubicBezTo>
                  <a:pt x="2125268" y="12677"/>
                  <a:pt x="2157008" y="44417"/>
                  <a:pt x="2157008" y="82504"/>
                </a:cubicBezTo>
                <a:lnTo>
                  <a:pt x="2157008" y="82504"/>
                </a:lnTo>
                <a:cubicBezTo>
                  <a:pt x="2157008" y="121861"/>
                  <a:pt x="2126538" y="153601"/>
                  <a:pt x="2087180" y="153601"/>
                </a:cubicBezTo>
                <a:close/>
              </a:path>
            </a:pathLst>
          </a:custGeom>
          <a:solidFill>
            <a:srgbClr val="959595"/>
          </a:solidFill>
          <a:ln w="1268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2" name="Graphic 36">
            <a:extLst>
              <a:ext uri="{FF2B5EF4-FFF2-40B4-BE49-F238E27FC236}">
                <a16:creationId xmlns:a16="http://schemas.microsoft.com/office/drawing/2014/main" id="{21FF5BCF-BC53-4C3F-8B7F-7077B35ADCA8}"/>
              </a:ext>
            </a:extLst>
          </p:cNvPr>
          <p:cNvSpPr/>
          <p:nvPr/>
        </p:nvSpPr>
        <p:spPr>
          <a:xfrm>
            <a:off x="-7816" y="5057878"/>
            <a:ext cx="715108" cy="949829"/>
          </a:xfrm>
          <a:custGeom>
            <a:avLst/>
            <a:gdLst>
              <a:gd name="connsiteX0" fmla="*/ 217522 w 723600"/>
              <a:gd name="connsiteY0" fmla="*/ 9082 h 1015200"/>
              <a:gd name="connsiteX1" fmla="*/ 9082 w 723600"/>
              <a:gd name="connsiteY1" fmla="*/ 9082 h 1015200"/>
              <a:gd name="connsiteX2" fmla="*/ 9082 w 723600"/>
              <a:gd name="connsiteY2" fmla="*/ 1010242 h 1015200"/>
              <a:gd name="connsiteX3" fmla="*/ 217522 w 723600"/>
              <a:gd name="connsiteY3" fmla="*/ 1010242 h 1015200"/>
              <a:gd name="connsiteX4" fmla="*/ 716482 w 723600"/>
              <a:gd name="connsiteY4" fmla="*/ 518842 h 1015200"/>
              <a:gd name="connsiteX5" fmla="*/ 716482 w 723600"/>
              <a:gd name="connsiteY5" fmla="*/ 500482 h 1015200"/>
              <a:gd name="connsiteX6" fmla="*/ 217522 w 723600"/>
              <a:gd name="connsiteY6" fmla="*/ 9082 h 10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3600" h="1015200">
                <a:moveTo>
                  <a:pt x="217522" y="9082"/>
                </a:moveTo>
                <a:lnTo>
                  <a:pt x="9082" y="9082"/>
                </a:lnTo>
                <a:lnTo>
                  <a:pt x="9082" y="1010242"/>
                </a:lnTo>
                <a:lnTo>
                  <a:pt x="217522" y="1010242"/>
                </a:lnTo>
                <a:cubicBezTo>
                  <a:pt x="217522" y="1010242"/>
                  <a:pt x="716482" y="1010242"/>
                  <a:pt x="716482" y="518842"/>
                </a:cubicBezTo>
                <a:lnTo>
                  <a:pt x="716482" y="500482"/>
                </a:lnTo>
                <a:cubicBezTo>
                  <a:pt x="716482" y="500482"/>
                  <a:pt x="716482" y="9082"/>
                  <a:pt x="217522" y="9082"/>
                </a:cubicBezTo>
                <a:close/>
              </a:path>
            </a:pathLst>
          </a:custGeom>
          <a:gradFill>
            <a:gsLst>
              <a:gs pos="0">
                <a:schemeClr val="bg2">
                  <a:lumMod val="50000"/>
                </a:schemeClr>
              </a:gs>
              <a:gs pos="74000">
                <a:schemeClr val="bg2">
                  <a:lumMod val="60000"/>
                  <a:lumOff val="40000"/>
                </a:schemeClr>
              </a:gs>
              <a:gs pos="83000">
                <a:schemeClr val="bg2">
                  <a:lumMod val="40000"/>
                  <a:lumOff val="60000"/>
                </a:schemeClr>
              </a:gs>
              <a:gs pos="100000">
                <a:schemeClr val="bg1"/>
              </a:gs>
            </a:gsLst>
            <a:lin ang="5400000" scaled="1"/>
          </a:gradFill>
          <a:ln w="1068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0837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3C229411-48AD-4A50-B02E-041030F1896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45189" y="1"/>
            <a:ext cx="6943003" cy="5934621"/>
          </a:xfrm>
          <a:custGeom>
            <a:avLst/>
            <a:gdLst>
              <a:gd name="connsiteX0" fmla="*/ 6940462 w 6943003"/>
              <a:gd name="connsiteY0" fmla="*/ 0 h 5934621"/>
              <a:gd name="connsiteX1" fmla="*/ 6943003 w 6943003"/>
              <a:gd name="connsiteY1" fmla="*/ 0 h 5934621"/>
              <a:gd name="connsiteX2" fmla="*/ 6943003 w 6943003"/>
              <a:gd name="connsiteY2" fmla="*/ 3562350 h 5934621"/>
              <a:gd name="connsiteX3" fmla="*/ 2564043 w 6943003"/>
              <a:gd name="connsiteY3" fmla="*/ 5721350 h 5934621"/>
              <a:gd name="connsiteX4" fmla="*/ 233592 w 6943003"/>
              <a:gd name="connsiteY4" fmla="*/ 4930141 h 5934621"/>
              <a:gd name="connsiteX5" fmla="*/ 213272 w 6943003"/>
              <a:gd name="connsiteY5" fmla="*/ 4889500 h 5934621"/>
              <a:gd name="connsiteX6" fmla="*/ 1004482 w 6943003"/>
              <a:gd name="connsiteY6" fmla="*/ 2559050 h 5934621"/>
              <a:gd name="connsiteX7" fmla="*/ 2136693 w 6943003"/>
              <a:gd name="connsiteY7" fmla="*/ 2000704 h 5934621"/>
              <a:gd name="connsiteX8" fmla="*/ 2183042 w 6943003"/>
              <a:gd name="connsiteY8" fmla="*/ 2039620 h 5934621"/>
              <a:gd name="connsiteX9" fmla="*/ 2473872 w 6943003"/>
              <a:gd name="connsiteY9" fmla="*/ 2129790 h 5934621"/>
              <a:gd name="connsiteX10" fmla="*/ 2787562 w 6943003"/>
              <a:gd name="connsiteY10" fmla="*/ 2048510 h 5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943003" h="5934621">
                <a:moveTo>
                  <a:pt x="6940462" y="0"/>
                </a:moveTo>
                <a:lnTo>
                  <a:pt x="6943003" y="0"/>
                </a:lnTo>
                <a:lnTo>
                  <a:pt x="6943003" y="3562350"/>
                </a:lnTo>
                <a:lnTo>
                  <a:pt x="2564043" y="5721350"/>
                </a:lnTo>
                <a:cubicBezTo>
                  <a:pt x="1003212" y="6490971"/>
                  <a:pt x="233592" y="4930141"/>
                  <a:pt x="233592" y="4930141"/>
                </a:cubicBezTo>
                <a:lnTo>
                  <a:pt x="213272" y="4889500"/>
                </a:lnTo>
                <a:cubicBezTo>
                  <a:pt x="-556348" y="3328670"/>
                  <a:pt x="1004482" y="2559050"/>
                  <a:pt x="1004482" y="2559050"/>
                </a:cubicBezTo>
                <a:lnTo>
                  <a:pt x="2136693" y="2000704"/>
                </a:lnTo>
                <a:lnTo>
                  <a:pt x="2183042" y="2039620"/>
                </a:lnTo>
                <a:cubicBezTo>
                  <a:pt x="2251622" y="2086610"/>
                  <a:pt x="2349412" y="2129790"/>
                  <a:pt x="2473872" y="2129790"/>
                </a:cubicBezTo>
                <a:cubicBezTo>
                  <a:pt x="2564042" y="2129790"/>
                  <a:pt x="2668182" y="2108200"/>
                  <a:pt x="2787562" y="204851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9AD403-A15F-4A2F-B050-AB874136E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4944" y="453050"/>
            <a:ext cx="10515600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HANK YOU!</a:t>
            </a:r>
            <a:endParaRPr lang="ru-R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9E3EED1-7BB3-4B75-BCA9-1C1223740B3C}"/>
              </a:ext>
            </a:extLst>
          </p:cNvPr>
          <p:cNvSpPr/>
          <p:nvPr/>
        </p:nvSpPr>
        <p:spPr>
          <a:xfrm>
            <a:off x="8704586" y="5422906"/>
            <a:ext cx="736600" cy="736600"/>
          </a:xfrm>
          <a:custGeom>
            <a:avLst/>
            <a:gdLst>
              <a:gd name="connsiteX0" fmla="*/ 372104 w 736600"/>
              <a:gd name="connsiteY0" fmla="*/ 731514 h 736600"/>
              <a:gd name="connsiteX1" fmla="*/ 731514 w 736600"/>
              <a:gd name="connsiteY1" fmla="*/ 372104 h 736600"/>
              <a:gd name="connsiteX2" fmla="*/ 372104 w 736600"/>
              <a:gd name="connsiteY2" fmla="*/ 12694 h 736600"/>
              <a:gd name="connsiteX3" fmla="*/ 12694 w 736600"/>
              <a:gd name="connsiteY3" fmla="*/ 372104 h 736600"/>
              <a:gd name="connsiteX4" fmla="*/ 372104 w 736600"/>
              <a:gd name="connsiteY4" fmla="*/ 731514 h 73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6600" h="736600">
                <a:moveTo>
                  <a:pt x="372104" y="731514"/>
                </a:moveTo>
                <a:cubicBezTo>
                  <a:pt x="570224" y="731514"/>
                  <a:pt x="731514" y="570224"/>
                  <a:pt x="731514" y="372104"/>
                </a:cubicBezTo>
                <a:cubicBezTo>
                  <a:pt x="731514" y="173984"/>
                  <a:pt x="570224" y="12694"/>
                  <a:pt x="372104" y="12694"/>
                </a:cubicBezTo>
                <a:cubicBezTo>
                  <a:pt x="173984" y="12694"/>
                  <a:pt x="12694" y="173984"/>
                  <a:pt x="12694" y="372104"/>
                </a:cubicBezTo>
                <a:cubicBezTo>
                  <a:pt x="12694" y="570224"/>
                  <a:pt x="173984" y="731514"/>
                  <a:pt x="372104" y="731514"/>
                </a:cubicBezTo>
              </a:path>
            </a:pathLst>
          </a:custGeom>
          <a:solidFill>
            <a:schemeClr val="accent1"/>
          </a:solidFill>
          <a:ln w="12694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29016A5F-A55B-4605-B66C-5C6E2BF4919F}"/>
              </a:ext>
            </a:extLst>
          </p:cNvPr>
          <p:cNvSpPr/>
          <p:nvPr/>
        </p:nvSpPr>
        <p:spPr>
          <a:xfrm>
            <a:off x="9659429" y="3776986"/>
            <a:ext cx="2540000" cy="2628900"/>
          </a:xfrm>
          <a:custGeom>
            <a:avLst/>
            <a:gdLst>
              <a:gd name="connsiteX0" fmla="*/ 2528761 w 2540000"/>
              <a:gd name="connsiteY0" fmla="*/ 12694 h 2628900"/>
              <a:gd name="connsiteX1" fmla="*/ 487871 w 2540000"/>
              <a:gd name="connsiteY1" fmla="*/ 1018534 h 2628900"/>
              <a:gd name="connsiteX2" fmla="*/ 113221 w 2540000"/>
              <a:gd name="connsiteY2" fmla="*/ 2120894 h 2628900"/>
              <a:gd name="connsiteX3" fmla="*/ 127191 w 2540000"/>
              <a:gd name="connsiteY3" fmla="*/ 2148834 h 2628900"/>
              <a:gd name="connsiteX4" fmla="*/ 1229551 w 2540000"/>
              <a:gd name="connsiteY4" fmla="*/ 2523484 h 2628900"/>
              <a:gd name="connsiteX5" fmla="*/ 2528761 w 2540000"/>
              <a:gd name="connsiteY5" fmla="*/ 1883404 h 2628900"/>
              <a:gd name="connsiteX6" fmla="*/ 2528761 w 2540000"/>
              <a:gd name="connsiteY6" fmla="*/ 12694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40000" h="2628900">
                <a:moveTo>
                  <a:pt x="2528761" y="12694"/>
                </a:moveTo>
                <a:lnTo>
                  <a:pt x="487871" y="1018534"/>
                </a:lnTo>
                <a:cubicBezTo>
                  <a:pt x="487871" y="1018534"/>
                  <a:pt x="-249999" y="1383024"/>
                  <a:pt x="113221" y="2120894"/>
                </a:cubicBezTo>
                <a:lnTo>
                  <a:pt x="127191" y="2148834"/>
                </a:lnTo>
                <a:cubicBezTo>
                  <a:pt x="127191" y="2148834"/>
                  <a:pt x="491681" y="2886705"/>
                  <a:pt x="1229551" y="2523484"/>
                </a:cubicBezTo>
                <a:lnTo>
                  <a:pt x="2528761" y="1883404"/>
                </a:lnTo>
                <a:lnTo>
                  <a:pt x="2528761" y="12694"/>
                </a:lnTo>
                <a:close/>
              </a:path>
            </a:pathLst>
          </a:custGeom>
          <a:solidFill>
            <a:schemeClr val="accent3"/>
          </a:solidFill>
          <a:ln w="12694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9" name="Text Placeholder 26">
            <a:extLst>
              <a:ext uri="{FF2B5EF4-FFF2-40B4-BE49-F238E27FC236}">
                <a16:creationId xmlns:a16="http://schemas.microsoft.com/office/drawing/2014/main" id="{9DBE4B29-4897-4A3A-B883-A887BCDA371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4420" y="3955665"/>
            <a:ext cx="4367531" cy="524711"/>
          </a:xfrm>
        </p:spPr>
        <p:txBody>
          <a:bodyPr>
            <a:noAutofit/>
          </a:bodyPr>
          <a:lstStyle>
            <a:lvl1pPr marL="0" indent="0" algn="l">
              <a:buNone/>
              <a:defRPr sz="2800" b="1" i="0"/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/>
              <a:t>August Bergqvist</a:t>
            </a:r>
          </a:p>
        </p:txBody>
      </p:sp>
      <p:sp>
        <p:nvSpPr>
          <p:cNvPr id="20" name="Text Placeholder 26">
            <a:extLst>
              <a:ext uri="{FF2B5EF4-FFF2-40B4-BE49-F238E27FC236}">
                <a16:creationId xmlns:a16="http://schemas.microsoft.com/office/drawing/2014/main" id="{0EF4532A-9AB5-4545-A83D-BD0E396357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4420" y="4633361"/>
            <a:ext cx="4367531" cy="365125"/>
          </a:xfrm>
        </p:spPr>
        <p:txBody>
          <a:bodyPr>
            <a:noAutofit/>
          </a:bodyPr>
          <a:lstStyle>
            <a:lvl1pPr marL="0" indent="0" algn="l">
              <a:buNone/>
              <a:defRPr sz="1800" b="1" i="0"/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/>
              <a:t>Phone:</a:t>
            </a:r>
          </a:p>
        </p:txBody>
      </p:sp>
      <p:sp>
        <p:nvSpPr>
          <p:cNvPr id="21" name="Text Placeholder 26">
            <a:extLst>
              <a:ext uri="{FF2B5EF4-FFF2-40B4-BE49-F238E27FC236}">
                <a16:creationId xmlns:a16="http://schemas.microsoft.com/office/drawing/2014/main" id="{D579A1F5-9180-47FE-A31B-4E37384383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4420" y="4892976"/>
            <a:ext cx="4367531" cy="365125"/>
          </a:xfrm>
        </p:spPr>
        <p:txBody>
          <a:bodyPr>
            <a:noAutofit/>
          </a:bodyPr>
          <a:lstStyle>
            <a:lvl1pPr marL="0" indent="0" algn="l">
              <a:buNone/>
              <a:defRPr sz="2500" b="1" i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/>
              <a:t>678 555-0128</a:t>
            </a:r>
          </a:p>
        </p:txBody>
      </p:sp>
      <p:sp>
        <p:nvSpPr>
          <p:cNvPr id="22" name="Text Placeholder 26">
            <a:extLst>
              <a:ext uri="{FF2B5EF4-FFF2-40B4-BE49-F238E27FC236}">
                <a16:creationId xmlns:a16="http://schemas.microsoft.com/office/drawing/2014/main" id="{71BBF4E8-67FF-4A65-9EC1-AE832CEBE85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4420" y="5334299"/>
            <a:ext cx="4367531" cy="365125"/>
          </a:xfrm>
        </p:spPr>
        <p:txBody>
          <a:bodyPr>
            <a:noAutofit/>
          </a:bodyPr>
          <a:lstStyle>
            <a:lvl1pPr marL="0" indent="0" algn="l">
              <a:buNone/>
              <a:defRPr sz="1800" b="1" i="0"/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/>
              <a:t>Email:</a:t>
            </a:r>
          </a:p>
        </p:txBody>
      </p:sp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5BB088E3-63C1-423F-A939-150B8E1F87A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4420" y="5593914"/>
            <a:ext cx="4367531" cy="365125"/>
          </a:xfrm>
        </p:spPr>
        <p:txBody>
          <a:bodyPr>
            <a:noAutofit/>
          </a:bodyPr>
          <a:lstStyle>
            <a:lvl1pPr marL="0" indent="0" algn="l">
              <a:buNone/>
              <a:defRPr sz="2500" b="1" i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/>
              <a:t>BERGQVIST@EXAMPLE.COM</a:t>
            </a:r>
          </a:p>
        </p:txBody>
      </p:sp>
      <p:sp>
        <p:nvSpPr>
          <p:cNvPr id="3" name="Graphic 23">
            <a:extLst>
              <a:ext uri="{FF2B5EF4-FFF2-40B4-BE49-F238E27FC236}">
                <a16:creationId xmlns:a16="http://schemas.microsoft.com/office/drawing/2014/main" id="{7E62A657-0B76-4081-A698-3C47F1AFC78E}"/>
              </a:ext>
            </a:extLst>
          </p:cNvPr>
          <p:cNvSpPr/>
          <p:nvPr/>
        </p:nvSpPr>
        <p:spPr>
          <a:xfrm>
            <a:off x="900978" y="1561556"/>
            <a:ext cx="2973890" cy="165305"/>
          </a:xfrm>
          <a:custGeom>
            <a:avLst/>
            <a:gdLst>
              <a:gd name="connsiteX0" fmla="*/ 2914974 w 2973890"/>
              <a:gd name="connsiteY0" fmla="*/ 159367 h 165304"/>
              <a:gd name="connsiteX1" fmla="*/ 70199 w 2973890"/>
              <a:gd name="connsiteY1" fmla="*/ 159367 h 165304"/>
              <a:gd name="connsiteX2" fmla="*/ 8816 w 2973890"/>
              <a:gd name="connsiteY2" fmla="*/ 84344 h 165304"/>
              <a:gd name="connsiteX3" fmla="*/ 8816 w 2973890"/>
              <a:gd name="connsiteY3" fmla="*/ 84344 h 165304"/>
              <a:gd name="connsiteX4" fmla="*/ 70199 w 2973890"/>
              <a:gd name="connsiteY4" fmla="*/ 10593 h 165304"/>
              <a:gd name="connsiteX5" fmla="*/ 2913916 w 2973890"/>
              <a:gd name="connsiteY5" fmla="*/ 10593 h 165304"/>
              <a:gd name="connsiteX6" fmla="*/ 2975298 w 2973890"/>
              <a:gd name="connsiteY6" fmla="*/ 84344 h 165304"/>
              <a:gd name="connsiteX7" fmla="*/ 2975298 w 2973890"/>
              <a:gd name="connsiteY7" fmla="*/ 84344 h 165304"/>
              <a:gd name="connsiteX8" fmla="*/ 2914974 w 2973890"/>
              <a:gd name="connsiteY8" fmla="*/ 159367 h 165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73890" h="165304">
                <a:moveTo>
                  <a:pt x="2914974" y="159367"/>
                </a:moveTo>
                <a:lnTo>
                  <a:pt x="70199" y="159367"/>
                </a:lnTo>
                <a:cubicBezTo>
                  <a:pt x="36333" y="159367"/>
                  <a:pt x="8816" y="125034"/>
                  <a:pt x="8816" y="84344"/>
                </a:cubicBezTo>
                <a:lnTo>
                  <a:pt x="8816" y="84344"/>
                </a:lnTo>
                <a:cubicBezTo>
                  <a:pt x="8816" y="43654"/>
                  <a:pt x="36333" y="10593"/>
                  <a:pt x="70199" y="10593"/>
                </a:cubicBezTo>
                <a:lnTo>
                  <a:pt x="2913916" y="10593"/>
                </a:lnTo>
                <a:cubicBezTo>
                  <a:pt x="2947782" y="10593"/>
                  <a:pt x="2975298" y="43654"/>
                  <a:pt x="2975298" y="84344"/>
                </a:cubicBezTo>
                <a:lnTo>
                  <a:pt x="2975298" y="84344"/>
                </a:lnTo>
                <a:cubicBezTo>
                  <a:pt x="2976357" y="125034"/>
                  <a:pt x="2948840" y="159367"/>
                  <a:pt x="2914974" y="15936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1058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C51D0359-A547-4B21-8850-06B9F1CDF9CE}"/>
              </a:ext>
            </a:extLst>
          </p:cNvPr>
          <p:cNvSpPr/>
          <p:nvPr/>
        </p:nvSpPr>
        <p:spPr>
          <a:xfrm>
            <a:off x="7172412" y="-12694"/>
            <a:ext cx="4978400" cy="2133600"/>
          </a:xfrm>
          <a:custGeom>
            <a:avLst/>
            <a:gdLst>
              <a:gd name="connsiteX0" fmla="*/ 2517688 w 4978400"/>
              <a:gd name="connsiteY0" fmla="*/ 12694 h 2133600"/>
              <a:gd name="connsiteX1" fmla="*/ 371388 w 4978400"/>
              <a:gd name="connsiteY1" fmla="*/ 1070604 h 2133600"/>
              <a:gd name="connsiteX2" fmla="*/ 72938 w 4978400"/>
              <a:gd name="connsiteY2" fmla="*/ 1812284 h 2133600"/>
              <a:gd name="connsiteX3" fmla="*/ 81828 w 4978400"/>
              <a:gd name="connsiteY3" fmla="*/ 1830064 h 2133600"/>
              <a:gd name="connsiteX4" fmla="*/ 851448 w 4978400"/>
              <a:gd name="connsiteY4" fmla="*/ 2044694 h 2133600"/>
              <a:gd name="connsiteX5" fmla="*/ 4970058 w 4978400"/>
              <a:gd name="connsiteY5" fmla="*/ 12694 h 2133600"/>
              <a:gd name="connsiteX6" fmla="*/ 2517688 w 4978400"/>
              <a:gd name="connsiteY6" fmla="*/ 12694 h 21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78400" h="2133600">
                <a:moveTo>
                  <a:pt x="2517688" y="12694"/>
                </a:moveTo>
                <a:lnTo>
                  <a:pt x="371388" y="1070604"/>
                </a:lnTo>
                <a:cubicBezTo>
                  <a:pt x="371388" y="1070604"/>
                  <a:pt x="-163282" y="1334764"/>
                  <a:pt x="72938" y="1812284"/>
                </a:cubicBezTo>
                <a:lnTo>
                  <a:pt x="81828" y="1830064"/>
                </a:lnTo>
                <a:cubicBezTo>
                  <a:pt x="81828" y="1830064"/>
                  <a:pt x="316778" y="2307584"/>
                  <a:pt x="851448" y="2044694"/>
                </a:cubicBezTo>
                <a:lnTo>
                  <a:pt x="4970058" y="12694"/>
                </a:lnTo>
                <a:lnTo>
                  <a:pt x="2517688" y="12694"/>
                </a:lnTo>
                <a:close/>
              </a:path>
            </a:pathLst>
          </a:custGeom>
          <a:solidFill>
            <a:schemeClr val="accent1"/>
          </a:solidFill>
          <a:ln w="12694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4158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592CE00E-F2AB-4099-8BB8-F109C4F2EFDB}"/>
              </a:ext>
            </a:extLst>
          </p:cNvPr>
          <p:cNvSpPr/>
          <p:nvPr/>
        </p:nvSpPr>
        <p:spPr>
          <a:xfrm>
            <a:off x="11036186" y="2670556"/>
            <a:ext cx="1155814" cy="863685"/>
          </a:xfrm>
          <a:custGeom>
            <a:avLst/>
            <a:gdLst>
              <a:gd name="connsiteX0" fmla="*/ 1148938 w 1155813"/>
              <a:gd name="connsiteY0" fmla="*/ 12701 h 863685"/>
              <a:gd name="connsiteX1" fmla="*/ 173482 w 1155813"/>
              <a:gd name="connsiteY1" fmla="*/ 494079 h 863685"/>
              <a:gd name="connsiteX2" fmla="*/ 28688 w 1155813"/>
              <a:gd name="connsiteY2" fmla="*/ 759535 h 863685"/>
              <a:gd name="connsiteX3" fmla="*/ 31228 w 1155813"/>
              <a:gd name="connsiteY3" fmla="*/ 765885 h 863685"/>
              <a:gd name="connsiteX4" fmla="*/ 329707 w 1155813"/>
              <a:gd name="connsiteY4" fmla="*/ 812880 h 863685"/>
              <a:gd name="connsiteX5" fmla="*/ 1147668 w 1155813"/>
              <a:gd name="connsiteY5" fmla="*/ 408980 h 863685"/>
              <a:gd name="connsiteX6" fmla="*/ 1147668 w 1155813"/>
              <a:gd name="connsiteY6" fmla="*/ 12701 h 863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55813" h="863685">
                <a:moveTo>
                  <a:pt x="1148938" y="12701"/>
                </a:moveTo>
                <a:lnTo>
                  <a:pt x="173482" y="494079"/>
                </a:lnTo>
                <a:cubicBezTo>
                  <a:pt x="173482" y="494079"/>
                  <a:pt x="-47520" y="603309"/>
                  <a:pt x="28688" y="759535"/>
                </a:cubicBezTo>
                <a:lnTo>
                  <a:pt x="31228" y="765885"/>
                </a:lnTo>
                <a:cubicBezTo>
                  <a:pt x="31228" y="765885"/>
                  <a:pt x="108705" y="922111"/>
                  <a:pt x="329707" y="812880"/>
                </a:cubicBezTo>
                <a:lnTo>
                  <a:pt x="1147668" y="408980"/>
                </a:lnTo>
                <a:lnTo>
                  <a:pt x="1147668" y="12701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E0F651C6-BE74-4133-ABA8-316072D4F5B5}"/>
              </a:ext>
            </a:extLst>
          </p:cNvPr>
          <p:cNvSpPr/>
          <p:nvPr/>
        </p:nvSpPr>
        <p:spPr>
          <a:xfrm>
            <a:off x="6518963" y="-12701"/>
            <a:ext cx="5029695" cy="2146511"/>
          </a:xfrm>
          <a:custGeom>
            <a:avLst/>
            <a:gdLst>
              <a:gd name="connsiteX0" fmla="*/ 4942646 w 5029695"/>
              <a:gd name="connsiteY0" fmla="*/ 12701 h 2146511"/>
              <a:gd name="connsiteX1" fmla="*/ 860464 w 5029695"/>
              <a:gd name="connsiteY1" fmla="*/ 2025849 h 2146511"/>
              <a:gd name="connsiteX2" fmla="*/ 295258 w 5029695"/>
              <a:gd name="connsiteY2" fmla="*/ 2019499 h 2146511"/>
              <a:gd name="connsiteX3" fmla="*/ 116171 w 5029695"/>
              <a:gd name="connsiteY3" fmla="*/ 1820089 h 2146511"/>
              <a:gd name="connsiteX4" fmla="*/ 107280 w 5029695"/>
              <a:gd name="connsiteY4" fmla="*/ 1802307 h 2146511"/>
              <a:gd name="connsiteX5" fmla="*/ 165705 w 5029695"/>
              <a:gd name="connsiteY5" fmla="*/ 1273935 h 2146511"/>
              <a:gd name="connsiteX6" fmla="*/ 398138 w 5029695"/>
              <a:gd name="connsiteY6" fmla="*/ 1085957 h 2146511"/>
              <a:gd name="connsiteX7" fmla="*/ 2576402 w 5029695"/>
              <a:gd name="connsiteY7" fmla="*/ 12701 h 2146511"/>
              <a:gd name="connsiteX8" fmla="*/ 2490034 w 5029695"/>
              <a:gd name="connsiteY8" fmla="*/ 12701 h 2146511"/>
              <a:gd name="connsiteX9" fmla="*/ 381626 w 5029695"/>
              <a:gd name="connsiteY9" fmla="*/ 1052934 h 2146511"/>
              <a:gd name="connsiteX10" fmla="*/ 137762 w 5029695"/>
              <a:gd name="connsiteY10" fmla="*/ 1249803 h 2146511"/>
              <a:gd name="connsiteX11" fmla="*/ 74256 w 5029695"/>
              <a:gd name="connsiteY11" fmla="*/ 1820089 h 2146511"/>
              <a:gd name="connsiteX12" fmla="*/ 83147 w 5029695"/>
              <a:gd name="connsiteY12" fmla="*/ 1837871 h 2146511"/>
              <a:gd name="connsiteX13" fmla="*/ 273666 w 5029695"/>
              <a:gd name="connsiteY13" fmla="*/ 2051252 h 2146511"/>
              <a:gd name="connsiteX14" fmla="*/ 564525 w 5029695"/>
              <a:gd name="connsiteY14" fmla="*/ 2141431 h 2146511"/>
              <a:gd name="connsiteX15" fmla="*/ 878246 w 5029695"/>
              <a:gd name="connsiteY15" fmla="*/ 2060143 h 2146511"/>
              <a:gd name="connsiteX16" fmla="*/ 5029014 w 5029695"/>
              <a:gd name="connsiteY16" fmla="*/ 12701 h 2146511"/>
              <a:gd name="connsiteX17" fmla="*/ 4942646 w 5029695"/>
              <a:gd name="connsiteY17" fmla="*/ 12701 h 2146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029695" h="2146511">
                <a:moveTo>
                  <a:pt x="4942646" y="12701"/>
                </a:moveTo>
                <a:lnTo>
                  <a:pt x="860464" y="2025849"/>
                </a:lnTo>
                <a:cubicBezTo>
                  <a:pt x="645812" y="2131270"/>
                  <a:pt x="456564" y="2130000"/>
                  <a:pt x="295258" y="2019499"/>
                </a:cubicBezTo>
                <a:cubicBezTo>
                  <a:pt x="174596" y="1936941"/>
                  <a:pt x="116171" y="1821359"/>
                  <a:pt x="116171" y="1820089"/>
                </a:cubicBezTo>
                <a:lnTo>
                  <a:pt x="107280" y="1802307"/>
                </a:lnTo>
                <a:cubicBezTo>
                  <a:pt x="13290" y="1611789"/>
                  <a:pt x="32342" y="1433971"/>
                  <a:pt x="165705" y="1273935"/>
                </a:cubicBezTo>
                <a:cubicBezTo>
                  <a:pt x="266045" y="1153274"/>
                  <a:pt x="395598" y="1087227"/>
                  <a:pt x="398138" y="1085957"/>
                </a:cubicBezTo>
                <a:lnTo>
                  <a:pt x="2576402" y="12701"/>
                </a:lnTo>
                <a:lnTo>
                  <a:pt x="2490034" y="12701"/>
                </a:lnTo>
                <a:lnTo>
                  <a:pt x="381626" y="1052934"/>
                </a:lnTo>
                <a:cubicBezTo>
                  <a:pt x="376546" y="1055474"/>
                  <a:pt x="243183" y="1121520"/>
                  <a:pt x="137762" y="1249803"/>
                </a:cubicBezTo>
                <a:cubicBezTo>
                  <a:pt x="38693" y="1369195"/>
                  <a:pt x="-51486" y="1564794"/>
                  <a:pt x="74256" y="1820089"/>
                </a:cubicBezTo>
                <a:lnTo>
                  <a:pt x="83147" y="1837871"/>
                </a:lnTo>
                <a:cubicBezTo>
                  <a:pt x="85687" y="1842952"/>
                  <a:pt x="145383" y="1962343"/>
                  <a:pt x="273666" y="2051252"/>
                </a:cubicBezTo>
                <a:cubicBezTo>
                  <a:pt x="342253" y="2098247"/>
                  <a:pt x="440053" y="2141431"/>
                  <a:pt x="564525" y="2141431"/>
                </a:cubicBezTo>
                <a:cubicBezTo>
                  <a:pt x="654703" y="2141431"/>
                  <a:pt x="758854" y="2119839"/>
                  <a:pt x="878246" y="2060143"/>
                </a:cubicBezTo>
                <a:lnTo>
                  <a:pt x="5029014" y="12701"/>
                </a:lnTo>
                <a:lnTo>
                  <a:pt x="4942646" y="12701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2" name="Graphic 36">
            <a:extLst>
              <a:ext uri="{FF2B5EF4-FFF2-40B4-BE49-F238E27FC236}">
                <a16:creationId xmlns:a16="http://schemas.microsoft.com/office/drawing/2014/main" id="{21FF5BCF-BC53-4C3F-8B7F-7077B35ADCA8}"/>
              </a:ext>
            </a:extLst>
          </p:cNvPr>
          <p:cNvSpPr/>
          <p:nvPr/>
        </p:nvSpPr>
        <p:spPr>
          <a:xfrm>
            <a:off x="0" y="2676005"/>
            <a:ext cx="715108" cy="949829"/>
          </a:xfrm>
          <a:custGeom>
            <a:avLst/>
            <a:gdLst>
              <a:gd name="connsiteX0" fmla="*/ 217522 w 723600"/>
              <a:gd name="connsiteY0" fmla="*/ 9082 h 1015200"/>
              <a:gd name="connsiteX1" fmla="*/ 9082 w 723600"/>
              <a:gd name="connsiteY1" fmla="*/ 9082 h 1015200"/>
              <a:gd name="connsiteX2" fmla="*/ 9082 w 723600"/>
              <a:gd name="connsiteY2" fmla="*/ 1010242 h 1015200"/>
              <a:gd name="connsiteX3" fmla="*/ 217522 w 723600"/>
              <a:gd name="connsiteY3" fmla="*/ 1010242 h 1015200"/>
              <a:gd name="connsiteX4" fmla="*/ 716482 w 723600"/>
              <a:gd name="connsiteY4" fmla="*/ 518842 h 1015200"/>
              <a:gd name="connsiteX5" fmla="*/ 716482 w 723600"/>
              <a:gd name="connsiteY5" fmla="*/ 500482 h 1015200"/>
              <a:gd name="connsiteX6" fmla="*/ 217522 w 723600"/>
              <a:gd name="connsiteY6" fmla="*/ 9082 h 10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3600" h="1015200">
                <a:moveTo>
                  <a:pt x="217522" y="9082"/>
                </a:moveTo>
                <a:lnTo>
                  <a:pt x="9082" y="9082"/>
                </a:lnTo>
                <a:lnTo>
                  <a:pt x="9082" y="1010242"/>
                </a:lnTo>
                <a:lnTo>
                  <a:pt x="217522" y="1010242"/>
                </a:lnTo>
                <a:cubicBezTo>
                  <a:pt x="217522" y="1010242"/>
                  <a:pt x="716482" y="1010242"/>
                  <a:pt x="716482" y="518842"/>
                </a:cubicBezTo>
                <a:lnTo>
                  <a:pt x="716482" y="500482"/>
                </a:lnTo>
                <a:cubicBezTo>
                  <a:pt x="716482" y="500482"/>
                  <a:pt x="716482" y="9082"/>
                  <a:pt x="217522" y="9082"/>
                </a:cubicBezTo>
                <a:close/>
              </a:path>
            </a:pathLst>
          </a:custGeom>
          <a:gradFill>
            <a:gsLst>
              <a:gs pos="0">
                <a:schemeClr val="bg2">
                  <a:lumMod val="50000"/>
                </a:schemeClr>
              </a:gs>
              <a:gs pos="74000">
                <a:schemeClr val="bg2">
                  <a:lumMod val="60000"/>
                  <a:lumOff val="40000"/>
                </a:schemeClr>
              </a:gs>
              <a:gs pos="83000">
                <a:schemeClr val="bg2">
                  <a:lumMod val="40000"/>
                  <a:lumOff val="60000"/>
                </a:schemeClr>
              </a:gs>
              <a:gs pos="100000">
                <a:schemeClr val="bg1"/>
              </a:gs>
            </a:gsLst>
            <a:lin ang="5400000" scaled="1"/>
          </a:gradFill>
          <a:ln w="1068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80136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Oval 33">
            <a:extLst>
              <a:ext uri="{FF2B5EF4-FFF2-40B4-BE49-F238E27FC236}">
                <a16:creationId xmlns:a16="http://schemas.microsoft.com/office/drawing/2014/main" id="{13074BE4-153F-46FE-B915-CD1AEF318A25}"/>
              </a:ext>
            </a:extLst>
          </p:cNvPr>
          <p:cNvSpPr/>
          <p:nvPr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Graphic 12">
            <a:extLst>
              <a:ext uri="{FF2B5EF4-FFF2-40B4-BE49-F238E27FC236}">
                <a16:creationId xmlns:a16="http://schemas.microsoft.com/office/drawing/2014/main" id="{0B7E91C4-F19E-46BE-B05F-139B5418924E}"/>
              </a:ext>
            </a:extLst>
          </p:cNvPr>
          <p:cNvSpPr/>
          <p:nvPr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8A64499-0304-4070-BCB0-67E2BE20A3EA}"/>
              </a:ext>
            </a:extLst>
          </p:cNvPr>
          <p:cNvSpPr/>
          <p:nvPr/>
        </p:nvSpPr>
        <p:spPr>
          <a:xfrm>
            <a:off x="7998821" y="1645349"/>
            <a:ext cx="4196737" cy="1001638"/>
          </a:xfrm>
          <a:custGeom>
            <a:avLst/>
            <a:gdLst>
              <a:gd name="connsiteX0" fmla="*/ 3150394 w 3152775"/>
              <a:gd name="connsiteY0" fmla="*/ 7144 h 752475"/>
              <a:gd name="connsiteX1" fmla="*/ 371952 w 3152775"/>
              <a:gd name="connsiteY1" fmla="*/ 7144 h 752475"/>
              <a:gd name="connsiteX2" fmla="*/ 7144 w 3152775"/>
              <a:gd name="connsiteY2" fmla="*/ 370999 h 752475"/>
              <a:gd name="connsiteX3" fmla="*/ 7144 w 3152775"/>
              <a:gd name="connsiteY3" fmla="*/ 384334 h 752475"/>
              <a:gd name="connsiteX4" fmla="*/ 371952 w 3152775"/>
              <a:gd name="connsiteY4" fmla="*/ 748189 h 752475"/>
              <a:gd name="connsiteX5" fmla="*/ 3150394 w 3152775"/>
              <a:gd name="connsiteY5" fmla="*/ 748189 h 752475"/>
              <a:gd name="connsiteX6" fmla="*/ 3150394 w 3152775"/>
              <a:gd name="connsiteY6" fmla="*/ 7144 h 75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2775" h="752475">
                <a:moveTo>
                  <a:pt x="3150394" y="7144"/>
                </a:moveTo>
                <a:lnTo>
                  <a:pt x="371952" y="7144"/>
                </a:lnTo>
                <a:cubicBezTo>
                  <a:pt x="371952" y="7144"/>
                  <a:pt x="7144" y="7144"/>
                  <a:pt x="7144" y="370999"/>
                </a:cubicBezTo>
                <a:lnTo>
                  <a:pt x="7144" y="384334"/>
                </a:lnTo>
                <a:cubicBezTo>
                  <a:pt x="7144" y="384334"/>
                  <a:pt x="7144" y="748189"/>
                  <a:pt x="371952" y="748189"/>
                </a:cubicBezTo>
                <a:lnTo>
                  <a:pt x="3150394" y="748189"/>
                </a:lnTo>
                <a:lnTo>
                  <a:pt x="3150394" y="7144"/>
                </a:lnTo>
                <a:close/>
              </a:path>
            </a:pathLst>
          </a:custGeom>
          <a:solidFill>
            <a:schemeClr val="accent1"/>
          </a:solidFill>
          <a:ln w="254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D1736B3-AE79-40C2-80FF-2FB0FEE27195}"/>
              </a:ext>
            </a:extLst>
          </p:cNvPr>
          <p:cNvSpPr/>
          <p:nvPr/>
        </p:nvSpPr>
        <p:spPr>
          <a:xfrm>
            <a:off x="12186920" y="2632655"/>
            <a:ext cx="5081" cy="25381"/>
          </a:xfrm>
          <a:custGeom>
            <a:avLst/>
            <a:gdLst>
              <a:gd name="connsiteX0" fmla="*/ 0 w 5081"/>
              <a:gd name="connsiteY0" fmla="*/ 0 h 25381"/>
              <a:gd name="connsiteX1" fmla="*/ 5081 w 5081"/>
              <a:gd name="connsiteY1" fmla="*/ 0 h 25381"/>
              <a:gd name="connsiteX2" fmla="*/ 5081 w 5081"/>
              <a:gd name="connsiteY2" fmla="*/ 25381 h 25381"/>
              <a:gd name="connsiteX3" fmla="*/ 0 w 5081"/>
              <a:gd name="connsiteY3" fmla="*/ 25381 h 25381"/>
              <a:gd name="connsiteX4" fmla="*/ 0 w 5081"/>
              <a:gd name="connsiteY4" fmla="*/ 0 h 25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81" h="25381">
                <a:moveTo>
                  <a:pt x="0" y="0"/>
                </a:moveTo>
                <a:lnTo>
                  <a:pt x="5081" y="0"/>
                </a:lnTo>
                <a:lnTo>
                  <a:pt x="5081" y="25381"/>
                </a:lnTo>
                <a:lnTo>
                  <a:pt x="0" y="25381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69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2228EE-3546-4272-9C39-150FF23CE0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81987" y="793172"/>
            <a:ext cx="9144000" cy="655621"/>
          </a:xfrm>
        </p:spPr>
        <p:txBody>
          <a:bodyPr anchor="b">
            <a:normAutofit/>
          </a:bodyPr>
          <a:lstStyle>
            <a:lvl1pPr algn="l">
              <a:defRPr sz="4000" b="1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dirty="0"/>
              <a:t>DIVIDER SLID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F2EFCC6-4D5A-4B43-A534-1A868887BC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5772" y="1877051"/>
            <a:ext cx="6843278" cy="496223"/>
          </a:xfrm>
        </p:spPr>
        <p:txBody>
          <a:bodyPr>
            <a:normAutofit/>
          </a:bodyPr>
          <a:lstStyle>
            <a:lvl1pPr marL="0" indent="0" algn="l">
              <a:buNone/>
              <a:defRPr sz="1800" b="1" i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24" name="Graphic 22">
            <a:extLst>
              <a:ext uri="{FF2B5EF4-FFF2-40B4-BE49-F238E27FC236}">
                <a16:creationId xmlns:a16="http://schemas.microsoft.com/office/drawing/2014/main" id="{4EE1436E-33B5-4388-87D8-2D0633CC3CE7}"/>
              </a:ext>
            </a:extLst>
          </p:cNvPr>
          <p:cNvSpPr/>
          <p:nvPr/>
        </p:nvSpPr>
        <p:spPr>
          <a:xfrm>
            <a:off x="903223" y="1550951"/>
            <a:ext cx="3273552" cy="151200"/>
          </a:xfrm>
          <a:custGeom>
            <a:avLst/>
            <a:gdLst>
              <a:gd name="connsiteX0" fmla="*/ 2392204 w 2447925"/>
              <a:gd name="connsiteY0" fmla="*/ 114776 h 114300"/>
              <a:gd name="connsiteX1" fmla="*/ 60484 w 2447925"/>
              <a:gd name="connsiteY1" fmla="*/ 114776 h 114300"/>
              <a:gd name="connsiteX2" fmla="*/ 7144 w 2447925"/>
              <a:gd name="connsiteY2" fmla="*/ 60484 h 114300"/>
              <a:gd name="connsiteX3" fmla="*/ 7144 w 2447925"/>
              <a:gd name="connsiteY3" fmla="*/ 60484 h 114300"/>
              <a:gd name="connsiteX4" fmla="*/ 60484 w 2447925"/>
              <a:gd name="connsiteY4" fmla="*/ 7144 h 114300"/>
              <a:gd name="connsiteX5" fmla="*/ 2392204 w 2447925"/>
              <a:gd name="connsiteY5" fmla="*/ 7144 h 114300"/>
              <a:gd name="connsiteX6" fmla="*/ 2445544 w 2447925"/>
              <a:gd name="connsiteY6" fmla="*/ 60484 h 114300"/>
              <a:gd name="connsiteX7" fmla="*/ 2445544 w 2447925"/>
              <a:gd name="connsiteY7" fmla="*/ 60484 h 114300"/>
              <a:gd name="connsiteX8" fmla="*/ 2392204 w 2447925"/>
              <a:gd name="connsiteY8" fmla="*/ 114776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47925" h="114300">
                <a:moveTo>
                  <a:pt x="2392204" y="114776"/>
                </a:moveTo>
                <a:lnTo>
                  <a:pt x="60484" y="114776"/>
                </a:lnTo>
                <a:cubicBezTo>
                  <a:pt x="30956" y="114776"/>
                  <a:pt x="7144" y="90011"/>
                  <a:pt x="7144" y="60484"/>
                </a:cubicBezTo>
                <a:lnTo>
                  <a:pt x="7144" y="60484"/>
                </a:lnTo>
                <a:cubicBezTo>
                  <a:pt x="7144" y="30956"/>
                  <a:pt x="30956" y="7144"/>
                  <a:pt x="60484" y="7144"/>
                </a:cubicBezTo>
                <a:lnTo>
                  <a:pt x="2392204" y="7144"/>
                </a:lnTo>
                <a:cubicBezTo>
                  <a:pt x="2421731" y="7144"/>
                  <a:pt x="2445544" y="30956"/>
                  <a:pt x="2445544" y="60484"/>
                </a:cubicBezTo>
                <a:lnTo>
                  <a:pt x="2445544" y="60484"/>
                </a:lnTo>
                <a:cubicBezTo>
                  <a:pt x="2445544" y="90011"/>
                  <a:pt x="2421731" y="114776"/>
                  <a:pt x="2392204" y="114776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8FB11AB-3031-47CA-85DD-696856C3C62C}"/>
              </a:ext>
            </a:extLst>
          </p:cNvPr>
          <p:cNvSpPr/>
          <p:nvPr/>
        </p:nvSpPr>
        <p:spPr>
          <a:xfrm>
            <a:off x="3899957" y="4662943"/>
            <a:ext cx="8292043" cy="760738"/>
          </a:xfrm>
          <a:custGeom>
            <a:avLst/>
            <a:gdLst>
              <a:gd name="connsiteX0" fmla="*/ 6228874 w 6229350"/>
              <a:gd name="connsiteY0" fmla="*/ 7144 h 571500"/>
              <a:gd name="connsiteX1" fmla="*/ 284321 w 6229350"/>
              <a:gd name="connsiteY1" fmla="*/ 7144 h 571500"/>
              <a:gd name="connsiteX2" fmla="*/ 7144 w 6229350"/>
              <a:gd name="connsiteY2" fmla="*/ 282416 h 571500"/>
              <a:gd name="connsiteX3" fmla="*/ 7144 w 6229350"/>
              <a:gd name="connsiteY3" fmla="*/ 292894 h 571500"/>
              <a:gd name="connsiteX4" fmla="*/ 284321 w 6229350"/>
              <a:gd name="connsiteY4" fmla="*/ 568166 h 571500"/>
              <a:gd name="connsiteX5" fmla="*/ 6228874 w 6229350"/>
              <a:gd name="connsiteY5" fmla="*/ 568166 h 571500"/>
              <a:gd name="connsiteX6" fmla="*/ 6228874 w 6229350"/>
              <a:gd name="connsiteY6" fmla="*/ 7144 h 57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29350" h="571500">
                <a:moveTo>
                  <a:pt x="6228874" y="7144"/>
                </a:moveTo>
                <a:lnTo>
                  <a:pt x="284321" y="7144"/>
                </a:lnTo>
                <a:cubicBezTo>
                  <a:pt x="284321" y="7144"/>
                  <a:pt x="7144" y="7144"/>
                  <a:pt x="7144" y="282416"/>
                </a:cubicBezTo>
                <a:lnTo>
                  <a:pt x="7144" y="292894"/>
                </a:lnTo>
                <a:cubicBezTo>
                  <a:pt x="7144" y="292894"/>
                  <a:pt x="7144" y="568166"/>
                  <a:pt x="284321" y="568166"/>
                </a:cubicBezTo>
                <a:lnTo>
                  <a:pt x="6228874" y="568166"/>
                </a:lnTo>
                <a:lnTo>
                  <a:pt x="6228874" y="7144"/>
                </a:lnTo>
                <a:close/>
              </a:path>
            </a:pathLst>
          </a:custGeom>
          <a:solidFill>
            <a:schemeClr val="accent3"/>
          </a:solidFill>
          <a:ln w="254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9CD6F167-FB82-4EFB-BAB9-1D0FEE07B85D}"/>
              </a:ext>
            </a:extLst>
          </p:cNvPr>
          <p:cNvSpPr/>
          <p:nvPr/>
        </p:nvSpPr>
        <p:spPr>
          <a:xfrm>
            <a:off x="3909848" y="4665641"/>
            <a:ext cx="8277071" cy="257213"/>
          </a:xfrm>
          <a:custGeom>
            <a:avLst/>
            <a:gdLst>
              <a:gd name="connsiteX0" fmla="*/ 363403 w 8277071"/>
              <a:gd name="connsiteY0" fmla="*/ 0 h 257213"/>
              <a:gd name="connsiteX1" fmla="*/ 8277071 w 8277071"/>
              <a:gd name="connsiteY1" fmla="*/ 0 h 257213"/>
              <a:gd name="connsiteX2" fmla="*/ 8277071 w 8277071"/>
              <a:gd name="connsiteY2" fmla="*/ 25380 h 257213"/>
              <a:gd name="connsiteX3" fmla="*/ 363403 w 8277071"/>
              <a:gd name="connsiteY3" fmla="*/ 25380 h 257213"/>
              <a:gd name="connsiteX4" fmla="*/ 61632 w 8277071"/>
              <a:gd name="connsiteY4" fmla="*/ 176355 h 257213"/>
              <a:gd name="connsiteX5" fmla="*/ 25441 w 8277071"/>
              <a:gd name="connsiteY5" fmla="*/ 257213 h 257213"/>
              <a:gd name="connsiteX6" fmla="*/ 0 w 8277071"/>
              <a:gd name="connsiteY6" fmla="*/ 257213 h 257213"/>
              <a:gd name="connsiteX7" fmla="*/ 29624 w 8277071"/>
              <a:gd name="connsiteY7" fmla="*/ 181325 h 257213"/>
              <a:gd name="connsiteX8" fmla="*/ 363403 w 8277071"/>
              <a:gd name="connsiteY8" fmla="*/ 0 h 257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77071" h="257213">
                <a:moveTo>
                  <a:pt x="363403" y="0"/>
                </a:moveTo>
                <a:lnTo>
                  <a:pt x="8277071" y="0"/>
                </a:lnTo>
                <a:lnTo>
                  <a:pt x="8277071" y="25380"/>
                </a:lnTo>
                <a:lnTo>
                  <a:pt x="363403" y="25380"/>
                </a:lnTo>
                <a:cubicBezTo>
                  <a:pt x="352934" y="25380"/>
                  <a:pt x="158297" y="28235"/>
                  <a:pt x="61632" y="176355"/>
                </a:cubicBezTo>
                <a:lnTo>
                  <a:pt x="25441" y="257213"/>
                </a:lnTo>
                <a:lnTo>
                  <a:pt x="0" y="257213"/>
                </a:lnTo>
                <a:lnTo>
                  <a:pt x="29624" y="181325"/>
                </a:lnTo>
                <a:cubicBezTo>
                  <a:pt x="130358" y="2915"/>
                  <a:pt x="360072" y="0"/>
                  <a:pt x="363403" y="0"/>
                </a:cubicBezTo>
                <a:close/>
              </a:path>
            </a:pathLst>
          </a:custGeom>
          <a:solidFill>
            <a:schemeClr val="bg1"/>
          </a:solidFill>
          <a:ln w="1269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3DD2082D-81A7-4E2D-8136-9D48016E7FE9}"/>
              </a:ext>
            </a:extLst>
          </p:cNvPr>
          <p:cNvSpPr/>
          <p:nvPr/>
        </p:nvSpPr>
        <p:spPr>
          <a:xfrm>
            <a:off x="12186919" y="4665641"/>
            <a:ext cx="5081" cy="25380"/>
          </a:xfrm>
          <a:custGeom>
            <a:avLst/>
            <a:gdLst>
              <a:gd name="connsiteX0" fmla="*/ 0 w 5081"/>
              <a:gd name="connsiteY0" fmla="*/ 0 h 25380"/>
              <a:gd name="connsiteX1" fmla="*/ 5081 w 5081"/>
              <a:gd name="connsiteY1" fmla="*/ 0 h 25380"/>
              <a:gd name="connsiteX2" fmla="*/ 5081 w 5081"/>
              <a:gd name="connsiteY2" fmla="*/ 25380 h 25380"/>
              <a:gd name="connsiteX3" fmla="*/ 0 w 5081"/>
              <a:gd name="connsiteY3" fmla="*/ 25380 h 25380"/>
              <a:gd name="connsiteX4" fmla="*/ 0 w 5081"/>
              <a:gd name="connsiteY4" fmla="*/ 0 h 25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81" h="25380">
                <a:moveTo>
                  <a:pt x="0" y="0"/>
                </a:moveTo>
                <a:lnTo>
                  <a:pt x="5081" y="0"/>
                </a:lnTo>
                <a:lnTo>
                  <a:pt x="5081" y="25380"/>
                </a:lnTo>
                <a:lnTo>
                  <a:pt x="0" y="2538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69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CF16C35-4A81-4062-808C-7697AF0FD6F5}"/>
              </a:ext>
            </a:extLst>
          </p:cNvPr>
          <p:cNvSpPr/>
          <p:nvPr/>
        </p:nvSpPr>
        <p:spPr>
          <a:xfrm>
            <a:off x="3905233" y="4922854"/>
            <a:ext cx="8286767" cy="513089"/>
          </a:xfrm>
          <a:custGeom>
            <a:avLst/>
            <a:gdLst>
              <a:gd name="connsiteX0" fmla="*/ 4615 w 8286767"/>
              <a:gd name="connsiteY0" fmla="*/ 0 h 513089"/>
              <a:gd name="connsiteX1" fmla="*/ 30056 w 8286767"/>
              <a:gd name="connsiteY1" fmla="*/ 0 h 513089"/>
              <a:gd name="connsiteX2" fmla="*/ 27385 w 8286767"/>
              <a:gd name="connsiteY2" fmla="*/ 5967 h 513089"/>
              <a:gd name="connsiteX3" fmla="*/ 12690 w 8286767"/>
              <a:gd name="connsiteY3" fmla="*/ 120958 h 513089"/>
              <a:gd name="connsiteX4" fmla="*/ 12690 w 8286767"/>
              <a:gd name="connsiteY4" fmla="*/ 134918 h 513089"/>
              <a:gd name="connsiteX5" fmla="*/ 368018 w 8286767"/>
              <a:gd name="connsiteY5" fmla="*/ 488977 h 513089"/>
              <a:gd name="connsiteX6" fmla="*/ 8286767 w 8286767"/>
              <a:gd name="connsiteY6" fmla="*/ 488977 h 513089"/>
              <a:gd name="connsiteX7" fmla="*/ 8286767 w 8286767"/>
              <a:gd name="connsiteY7" fmla="*/ 513089 h 513089"/>
              <a:gd name="connsiteX8" fmla="*/ 368018 w 8286767"/>
              <a:gd name="connsiteY8" fmla="*/ 513089 h 513089"/>
              <a:gd name="connsiteX9" fmla="*/ 0 w 8286767"/>
              <a:gd name="connsiteY9" fmla="*/ 225019 h 513089"/>
              <a:gd name="connsiteX10" fmla="*/ 0 w 8286767"/>
              <a:gd name="connsiteY10" fmla="*/ 11822 h 513089"/>
              <a:gd name="connsiteX11" fmla="*/ 4615 w 8286767"/>
              <a:gd name="connsiteY11" fmla="*/ 0 h 513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286767" h="513089">
                <a:moveTo>
                  <a:pt x="4615" y="0"/>
                </a:moveTo>
                <a:lnTo>
                  <a:pt x="30056" y="0"/>
                </a:lnTo>
                <a:lnTo>
                  <a:pt x="27385" y="5967"/>
                </a:lnTo>
                <a:cubicBezTo>
                  <a:pt x="18024" y="39383"/>
                  <a:pt x="12690" y="77494"/>
                  <a:pt x="12690" y="120958"/>
                </a:cubicBezTo>
                <a:lnTo>
                  <a:pt x="12690" y="134918"/>
                </a:lnTo>
                <a:cubicBezTo>
                  <a:pt x="12690" y="150146"/>
                  <a:pt x="17766" y="488977"/>
                  <a:pt x="368018" y="488977"/>
                </a:cubicBezTo>
                <a:lnTo>
                  <a:pt x="8286767" y="488977"/>
                </a:lnTo>
                <a:lnTo>
                  <a:pt x="8286767" y="513089"/>
                </a:lnTo>
                <a:lnTo>
                  <a:pt x="368018" y="513089"/>
                </a:lnTo>
                <a:cubicBezTo>
                  <a:pt x="110405" y="513089"/>
                  <a:pt x="26649" y="336694"/>
                  <a:pt x="0" y="225019"/>
                </a:cubicBezTo>
                <a:lnTo>
                  <a:pt x="0" y="11822"/>
                </a:lnTo>
                <a:lnTo>
                  <a:pt x="4615" y="0"/>
                </a:lnTo>
                <a:close/>
              </a:path>
            </a:pathLst>
          </a:custGeom>
          <a:solidFill>
            <a:schemeClr val="bg1"/>
          </a:solidFill>
          <a:ln w="1269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7EF9C60-0FED-4965-A9BC-CE69886A38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205F7-811A-4606-AC7E-593528945A21}" type="datetimeFigureOut">
              <a:rPr lang="en-GB" smtClean="0"/>
              <a:t>11/12/2019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39F2410-4015-48DB-BB4D-B5944D8C16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44F5F26-1B35-405A-AD75-5DFF48CF6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757CD-3B46-4C63-B887-90DD936998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5462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Oval 47">
            <a:extLst>
              <a:ext uri="{FF2B5EF4-FFF2-40B4-BE49-F238E27FC236}">
                <a16:creationId xmlns:a16="http://schemas.microsoft.com/office/drawing/2014/main" id="{2F290D8B-987A-4555-890C-F3CD026BF7BF}"/>
              </a:ext>
            </a:extLst>
          </p:cNvPr>
          <p:cNvSpPr/>
          <p:nvPr/>
        </p:nvSpPr>
        <p:spPr>
          <a:xfrm>
            <a:off x="10893420" y="5803030"/>
            <a:ext cx="385200" cy="385200"/>
          </a:xfrm>
          <a:prstGeom prst="ellipse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74000">
                <a:schemeClr val="bg2">
                  <a:lumMod val="60000"/>
                  <a:lumOff val="40000"/>
                </a:schemeClr>
              </a:gs>
              <a:gs pos="83000">
                <a:schemeClr val="bg2">
                  <a:lumMod val="40000"/>
                  <a:lumOff val="6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Graphic 12">
            <a:extLst>
              <a:ext uri="{FF2B5EF4-FFF2-40B4-BE49-F238E27FC236}">
                <a16:creationId xmlns:a16="http://schemas.microsoft.com/office/drawing/2014/main" id="{6139C5E6-5A04-4458-8EF9-628BFBA73A92}"/>
              </a:ext>
            </a:extLst>
          </p:cNvPr>
          <p:cNvSpPr/>
          <p:nvPr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>
            <a:gsLst>
              <a:gs pos="0">
                <a:schemeClr val="bg2">
                  <a:lumMod val="50000"/>
                </a:schemeClr>
              </a:gs>
              <a:gs pos="74000">
                <a:schemeClr val="bg2">
                  <a:lumMod val="60000"/>
                  <a:lumOff val="40000"/>
                </a:schemeClr>
              </a:gs>
              <a:gs pos="83000">
                <a:schemeClr val="bg2">
                  <a:lumMod val="40000"/>
                  <a:lumOff val="60000"/>
                </a:schemeClr>
              </a:gs>
              <a:gs pos="100000">
                <a:schemeClr val="bg1"/>
              </a:gs>
            </a:gsLst>
            <a:lin ang="54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41" name="Graphic 39">
            <a:extLst>
              <a:ext uri="{FF2B5EF4-FFF2-40B4-BE49-F238E27FC236}">
                <a16:creationId xmlns:a16="http://schemas.microsoft.com/office/drawing/2014/main" id="{1D75FFD8-3F66-48B3-BB01-D4B8A9496851}"/>
              </a:ext>
            </a:extLst>
          </p:cNvPr>
          <p:cNvGrpSpPr/>
          <p:nvPr/>
        </p:nvGrpSpPr>
        <p:grpSpPr>
          <a:xfrm>
            <a:off x="10008352" y="0"/>
            <a:ext cx="2188800" cy="1933794"/>
            <a:chOff x="10003200" y="0"/>
            <a:chExt cx="2188800" cy="1933794"/>
          </a:xfrm>
          <a:gradFill>
            <a:gsLst>
              <a:gs pos="0">
                <a:schemeClr val="bg2">
                  <a:lumMod val="50000"/>
                </a:schemeClr>
              </a:gs>
              <a:gs pos="74000">
                <a:schemeClr val="bg2">
                  <a:lumMod val="60000"/>
                  <a:lumOff val="40000"/>
                </a:schemeClr>
              </a:gs>
              <a:gs pos="83000">
                <a:schemeClr val="bg2">
                  <a:lumMod val="40000"/>
                  <a:lumOff val="60000"/>
                </a:schemeClr>
              </a:gs>
              <a:gs pos="100000">
                <a:schemeClr val="bg1"/>
              </a:gs>
            </a:gsLst>
            <a:lin ang="5400000" scaled="1"/>
          </a:gradFill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9BA0EC60-510D-41EF-AFE6-E4E6BD83F8C9}"/>
                </a:ext>
              </a:extLst>
            </p:cNvPr>
            <p:cNvSpPr/>
            <p:nvPr/>
          </p:nvSpPr>
          <p:spPr>
            <a:xfrm>
              <a:off x="10712341" y="-7969"/>
              <a:ext cx="1466283" cy="1009398"/>
            </a:xfrm>
            <a:custGeom>
              <a:avLst/>
              <a:gdLst>
                <a:gd name="connsiteX0" fmla="*/ 1467972 w 1466283"/>
                <a:gd name="connsiteY0" fmla="*/ 752798 h 1009397"/>
                <a:gd name="connsiteX1" fmla="*/ 1221466 w 1466283"/>
                <a:gd name="connsiteY1" fmla="*/ 871801 h 1009397"/>
                <a:gd name="connsiteX2" fmla="*/ 425635 w 1466283"/>
                <a:gd name="connsiteY2" fmla="*/ 821862 h 1009397"/>
                <a:gd name="connsiteX3" fmla="*/ 158942 w 1466283"/>
                <a:gd name="connsiteY3" fmla="*/ 510543 h 1009397"/>
                <a:gd name="connsiteX4" fmla="*/ 145129 w 1466283"/>
                <a:gd name="connsiteY4" fmla="*/ 482917 h 1009397"/>
                <a:gd name="connsiteX5" fmla="*/ 52689 w 1466283"/>
                <a:gd name="connsiteY5" fmla="*/ 7969 h 1009397"/>
                <a:gd name="connsiteX6" fmla="*/ 14439 w 1466283"/>
                <a:gd name="connsiteY6" fmla="*/ 7969 h 1009397"/>
                <a:gd name="connsiteX7" fmla="*/ 111128 w 1466283"/>
                <a:gd name="connsiteY7" fmla="*/ 499918 h 1009397"/>
                <a:gd name="connsiteX8" fmla="*/ 124941 w 1466283"/>
                <a:gd name="connsiteY8" fmla="*/ 527543 h 1009397"/>
                <a:gd name="connsiteX9" fmla="*/ 402260 w 1466283"/>
                <a:gd name="connsiteY9" fmla="*/ 851613 h 1009397"/>
                <a:gd name="connsiteX10" fmla="*/ 845333 w 1466283"/>
                <a:gd name="connsiteY10" fmla="*/ 1004617 h 1009397"/>
                <a:gd name="connsiteX11" fmla="*/ 1238467 w 1466283"/>
                <a:gd name="connsiteY11" fmla="*/ 906864 h 1009397"/>
                <a:gd name="connsiteX12" fmla="*/ 1467972 w 1466283"/>
                <a:gd name="connsiteY12" fmla="*/ 795299 h 1009397"/>
                <a:gd name="connsiteX13" fmla="*/ 1467972 w 1466283"/>
                <a:gd name="connsiteY13" fmla="*/ 752798 h 1009397"/>
                <a:gd name="connsiteX14" fmla="*/ 1467972 w 1466283"/>
                <a:gd name="connsiteY14" fmla="*/ 752798 h 1009397"/>
                <a:gd name="connsiteX15" fmla="*/ 1467972 w 1466283"/>
                <a:gd name="connsiteY15" fmla="*/ 752798 h 100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66283" h="1009397">
                  <a:moveTo>
                    <a:pt x="1467972" y="752798"/>
                  </a:moveTo>
                  <a:lnTo>
                    <a:pt x="1221466" y="871801"/>
                  </a:lnTo>
                  <a:cubicBezTo>
                    <a:pt x="928209" y="1015242"/>
                    <a:pt x="660453" y="997179"/>
                    <a:pt x="425635" y="821862"/>
                  </a:cubicBezTo>
                  <a:cubicBezTo>
                    <a:pt x="250319" y="689047"/>
                    <a:pt x="158942" y="512668"/>
                    <a:pt x="158942" y="510543"/>
                  </a:cubicBezTo>
                  <a:lnTo>
                    <a:pt x="145129" y="482917"/>
                  </a:lnTo>
                  <a:cubicBezTo>
                    <a:pt x="61190" y="315038"/>
                    <a:pt x="29314" y="155660"/>
                    <a:pt x="52689" y="7969"/>
                  </a:cubicBezTo>
                  <a:lnTo>
                    <a:pt x="14439" y="7969"/>
                  </a:lnTo>
                  <a:cubicBezTo>
                    <a:pt x="-6812" y="163097"/>
                    <a:pt x="24001" y="327789"/>
                    <a:pt x="111128" y="499918"/>
                  </a:cubicBezTo>
                  <a:lnTo>
                    <a:pt x="124941" y="527543"/>
                  </a:lnTo>
                  <a:cubicBezTo>
                    <a:pt x="129191" y="534981"/>
                    <a:pt x="219506" y="714548"/>
                    <a:pt x="402260" y="851613"/>
                  </a:cubicBezTo>
                  <a:cubicBezTo>
                    <a:pt x="508512" y="931302"/>
                    <a:pt x="656203" y="1004617"/>
                    <a:pt x="845333" y="1004617"/>
                  </a:cubicBezTo>
                  <a:cubicBezTo>
                    <a:pt x="961148" y="1004617"/>
                    <a:pt x="1091838" y="976991"/>
                    <a:pt x="1238467" y="906864"/>
                  </a:cubicBezTo>
                  <a:lnTo>
                    <a:pt x="1467972" y="795299"/>
                  </a:lnTo>
                  <a:lnTo>
                    <a:pt x="1467972" y="752798"/>
                  </a:lnTo>
                  <a:lnTo>
                    <a:pt x="1467972" y="752798"/>
                  </a:lnTo>
                  <a:lnTo>
                    <a:pt x="1467972" y="7527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0162C508-E081-418C-A19D-15A59388C43A}"/>
                </a:ext>
              </a:extLst>
            </p:cNvPr>
            <p:cNvSpPr/>
            <p:nvPr/>
          </p:nvSpPr>
          <p:spPr>
            <a:xfrm>
              <a:off x="10014209" y="321414"/>
              <a:ext cx="2178175" cy="1593786"/>
            </a:xfrm>
            <a:custGeom>
              <a:avLst/>
              <a:gdLst>
                <a:gd name="connsiteX0" fmla="*/ 231247 w 2178174"/>
                <a:gd name="connsiteY0" fmla="*/ 950428 h 1593786"/>
                <a:gd name="connsiteX1" fmla="*/ 45305 w 2178174"/>
                <a:gd name="connsiteY1" fmla="*/ 1404126 h 1593786"/>
                <a:gd name="connsiteX2" fmla="*/ 50617 w 2178174"/>
                <a:gd name="connsiteY2" fmla="*/ 1415814 h 1593786"/>
                <a:gd name="connsiteX3" fmla="*/ 529816 w 2178174"/>
                <a:gd name="connsiteY3" fmla="*/ 1547566 h 1593786"/>
                <a:gd name="connsiteX4" fmla="*/ 2173541 w 2178174"/>
                <a:gd name="connsiteY4" fmla="*/ 749611 h 1593786"/>
                <a:gd name="connsiteX5" fmla="*/ 2173541 w 2178174"/>
                <a:gd name="connsiteY5" fmla="*/ 7969 h 1593786"/>
                <a:gd name="connsiteX6" fmla="*/ 231247 w 2178174"/>
                <a:gd name="connsiteY6" fmla="*/ 950428 h 1593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8174" h="1593786">
                  <a:moveTo>
                    <a:pt x="231247" y="950428"/>
                  </a:moveTo>
                  <a:cubicBezTo>
                    <a:pt x="231247" y="950428"/>
                    <a:pt x="-101324" y="1111932"/>
                    <a:pt x="45305" y="1404126"/>
                  </a:cubicBezTo>
                  <a:lnTo>
                    <a:pt x="50617" y="1415814"/>
                  </a:lnTo>
                  <a:cubicBezTo>
                    <a:pt x="50617" y="1415814"/>
                    <a:pt x="197246" y="1708008"/>
                    <a:pt x="529816" y="1547566"/>
                  </a:cubicBezTo>
                  <a:lnTo>
                    <a:pt x="2173541" y="749611"/>
                  </a:lnTo>
                  <a:lnTo>
                    <a:pt x="2173541" y="7969"/>
                  </a:lnTo>
                  <a:lnTo>
                    <a:pt x="231247" y="9504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710D7D-FC65-4BF6-BDA4-E59B01AD6FBC}"/>
                </a:ext>
              </a:extLst>
            </p:cNvPr>
            <p:cNvSpPr/>
            <p:nvPr/>
          </p:nvSpPr>
          <p:spPr>
            <a:xfrm>
              <a:off x="10732016" y="-7969"/>
              <a:ext cx="1455658" cy="839394"/>
            </a:xfrm>
            <a:custGeom>
              <a:avLst/>
              <a:gdLst>
                <a:gd name="connsiteX0" fmla="*/ 123329 w 1455658"/>
                <a:gd name="connsiteY0" fmla="*/ 521168 h 839394"/>
                <a:gd name="connsiteX1" fmla="*/ 390022 w 1455658"/>
                <a:gd name="connsiteY1" fmla="*/ 834613 h 839394"/>
                <a:gd name="connsiteX2" fmla="*/ 1455734 w 1455658"/>
                <a:gd name="connsiteY2" fmla="*/ 317163 h 839394"/>
                <a:gd name="connsiteX3" fmla="*/ 1456797 w 1455658"/>
                <a:gd name="connsiteY3" fmla="*/ 7969 h 839394"/>
                <a:gd name="connsiteX4" fmla="*/ 14951 w 1455658"/>
                <a:gd name="connsiteY4" fmla="*/ 7969 h 839394"/>
                <a:gd name="connsiteX5" fmla="*/ 109516 w 1455658"/>
                <a:gd name="connsiteY5" fmla="*/ 493543 h 839394"/>
                <a:gd name="connsiteX6" fmla="*/ 123329 w 1455658"/>
                <a:gd name="connsiteY6" fmla="*/ 521168 h 83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5658" h="839394">
                  <a:moveTo>
                    <a:pt x="123329" y="521168"/>
                  </a:moveTo>
                  <a:cubicBezTo>
                    <a:pt x="123329" y="521168"/>
                    <a:pt x="212581" y="698610"/>
                    <a:pt x="390022" y="834613"/>
                  </a:cubicBezTo>
                  <a:lnTo>
                    <a:pt x="1455734" y="317163"/>
                  </a:lnTo>
                  <a:lnTo>
                    <a:pt x="1456797" y="7969"/>
                  </a:lnTo>
                  <a:lnTo>
                    <a:pt x="14951" y="7969"/>
                  </a:lnTo>
                  <a:cubicBezTo>
                    <a:pt x="-5237" y="145035"/>
                    <a:pt x="16014" y="307601"/>
                    <a:pt x="109516" y="493543"/>
                  </a:cubicBezTo>
                  <a:lnTo>
                    <a:pt x="123329" y="5211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18811B6B-BBB0-4D69-AEF8-AD0A7F9A4B57}"/>
                </a:ext>
              </a:extLst>
            </p:cNvPr>
            <p:cNvSpPr/>
            <p:nvPr/>
          </p:nvSpPr>
          <p:spPr>
            <a:xfrm>
              <a:off x="11124635" y="1146995"/>
              <a:ext cx="1062524" cy="743767"/>
            </a:xfrm>
            <a:custGeom>
              <a:avLst/>
              <a:gdLst>
                <a:gd name="connsiteX0" fmla="*/ 1064178 w 1062524"/>
                <a:gd name="connsiteY0" fmla="*/ 7969 h 743766"/>
                <a:gd name="connsiteX1" fmla="*/ 91968 w 1062524"/>
                <a:gd name="connsiteY1" fmla="*/ 480792 h 743766"/>
                <a:gd name="connsiteX2" fmla="*/ 22904 w 1062524"/>
                <a:gd name="connsiteY2" fmla="*/ 658234 h 743766"/>
                <a:gd name="connsiteX3" fmla="*/ 25029 w 1062524"/>
                <a:gd name="connsiteY3" fmla="*/ 663546 h 743766"/>
                <a:gd name="connsiteX4" fmla="*/ 209908 w 1062524"/>
                <a:gd name="connsiteY4" fmla="*/ 718798 h 743766"/>
                <a:gd name="connsiteX5" fmla="*/ 1064178 w 1062524"/>
                <a:gd name="connsiteY5" fmla="*/ 302288 h 743766"/>
                <a:gd name="connsiteX6" fmla="*/ 1064178 w 1062524"/>
                <a:gd name="connsiteY6" fmla="*/ 7969 h 743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2524" h="743766">
                  <a:moveTo>
                    <a:pt x="1064178" y="7969"/>
                  </a:moveTo>
                  <a:lnTo>
                    <a:pt x="91968" y="480792"/>
                  </a:lnTo>
                  <a:cubicBezTo>
                    <a:pt x="91968" y="480792"/>
                    <a:pt x="-34472" y="543481"/>
                    <a:pt x="22904" y="658234"/>
                  </a:cubicBezTo>
                  <a:lnTo>
                    <a:pt x="25029" y="663546"/>
                  </a:lnTo>
                  <a:cubicBezTo>
                    <a:pt x="25029" y="663546"/>
                    <a:pt x="82405" y="780424"/>
                    <a:pt x="209908" y="718798"/>
                  </a:cubicBezTo>
                  <a:lnTo>
                    <a:pt x="1064178" y="302288"/>
                  </a:lnTo>
                  <a:lnTo>
                    <a:pt x="1064178" y="7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DB7F04C-0D31-4172-9D02-F8C8B2043EB9}"/>
                </a:ext>
              </a:extLst>
            </p:cNvPr>
            <p:cNvSpPr/>
            <p:nvPr/>
          </p:nvSpPr>
          <p:spPr>
            <a:xfrm>
              <a:off x="11105057" y="1128932"/>
              <a:ext cx="1083775" cy="775643"/>
            </a:xfrm>
            <a:custGeom>
              <a:avLst/>
              <a:gdLst>
                <a:gd name="connsiteX0" fmla="*/ 219924 w 1083774"/>
                <a:gd name="connsiteY0" fmla="*/ 719860 h 775642"/>
                <a:gd name="connsiteX1" fmla="*/ 60545 w 1083774"/>
                <a:gd name="connsiteY1" fmla="*/ 674172 h 775642"/>
                <a:gd name="connsiteX2" fmla="*/ 58420 w 1083774"/>
                <a:gd name="connsiteY2" fmla="*/ 668859 h 775642"/>
                <a:gd name="connsiteX3" fmla="*/ 118984 w 1083774"/>
                <a:gd name="connsiteY3" fmla="*/ 515856 h 775642"/>
                <a:gd name="connsiteX4" fmla="*/ 1083756 w 1083774"/>
                <a:gd name="connsiteY4" fmla="*/ 48345 h 775642"/>
                <a:gd name="connsiteX5" fmla="*/ 1083756 w 1083774"/>
                <a:gd name="connsiteY5" fmla="*/ 7969 h 775642"/>
                <a:gd name="connsiteX6" fmla="*/ 103046 w 1083774"/>
                <a:gd name="connsiteY6" fmla="*/ 482917 h 775642"/>
                <a:gd name="connsiteX7" fmla="*/ 14856 w 1083774"/>
                <a:gd name="connsiteY7" fmla="*/ 578544 h 775642"/>
                <a:gd name="connsiteX8" fmla="*/ 24419 w 1083774"/>
                <a:gd name="connsiteY8" fmla="*/ 686922 h 775642"/>
                <a:gd name="connsiteX9" fmla="*/ 26544 w 1083774"/>
                <a:gd name="connsiteY9" fmla="*/ 692234 h 775642"/>
                <a:gd name="connsiteX10" fmla="*/ 157235 w 1083774"/>
                <a:gd name="connsiteY10" fmla="*/ 775111 h 775642"/>
                <a:gd name="connsiteX11" fmla="*/ 236924 w 1083774"/>
                <a:gd name="connsiteY11" fmla="*/ 754923 h 775642"/>
                <a:gd name="connsiteX12" fmla="*/ 1083756 w 1083774"/>
                <a:gd name="connsiteY12" fmla="*/ 344789 h 775642"/>
                <a:gd name="connsiteX13" fmla="*/ 1083756 w 1083774"/>
                <a:gd name="connsiteY13" fmla="*/ 301226 h 775642"/>
                <a:gd name="connsiteX14" fmla="*/ 219924 w 1083774"/>
                <a:gd name="connsiteY14" fmla="*/ 719860 h 77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83774" h="775642">
                  <a:moveTo>
                    <a:pt x="219924" y="719860"/>
                  </a:moveTo>
                  <a:cubicBezTo>
                    <a:pt x="112609" y="771924"/>
                    <a:pt x="65858" y="683734"/>
                    <a:pt x="60545" y="674172"/>
                  </a:cubicBezTo>
                  <a:lnTo>
                    <a:pt x="58420" y="668859"/>
                  </a:lnTo>
                  <a:cubicBezTo>
                    <a:pt x="9544" y="571107"/>
                    <a:pt x="114734" y="519043"/>
                    <a:pt x="118984" y="515856"/>
                  </a:cubicBezTo>
                  <a:lnTo>
                    <a:pt x="1083756" y="48345"/>
                  </a:lnTo>
                  <a:lnTo>
                    <a:pt x="1083756" y="7969"/>
                  </a:lnTo>
                  <a:lnTo>
                    <a:pt x="103046" y="482917"/>
                  </a:lnTo>
                  <a:cubicBezTo>
                    <a:pt x="100921" y="483980"/>
                    <a:pt x="36107" y="516918"/>
                    <a:pt x="14856" y="578544"/>
                  </a:cubicBezTo>
                  <a:cubicBezTo>
                    <a:pt x="3169" y="613608"/>
                    <a:pt x="6356" y="649733"/>
                    <a:pt x="24419" y="686922"/>
                  </a:cubicBezTo>
                  <a:lnTo>
                    <a:pt x="26544" y="692234"/>
                  </a:lnTo>
                  <a:cubicBezTo>
                    <a:pt x="44607" y="726235"/>
                    <a:pt x="88171" y="775111"/>
                    <a:pt x="157235" y="775111"/>
                  </a:cubicBezTo>
                  <a:cubicBezTo>
                    <a:pt x="180610" y="775111"/>
                    <a:pt x="207173" y="768736"/>
                    <a:pt x="236924" y="754923"/>
                  </a:cubicBezTo>
                  <a:lnTo>
                    <a:pt x="1083756" y="344789"/>
                  </a:lnTo>
                  <a:lnTo>
                    <a:pt x="1083756" y="301226"/>
                  </a:lnTo>
                  <a:lnTo>
                    <a:pt x="219924" y="7198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1FB04931-77A8-4259-95CA-DA7DEDB2DEFD}"/>
                </a:ext>
              </a:extLst>
            </p:cNvPr>
            <p:cNvSpPr/>
            <p:nvPr/>
          </p:nvSpPr>
          <p:spPr>
            <a:xfrm>
              <a:off x="9994666" y="301226"/>
              <a:ext cx="2199425" cy="1636287"/>
            </a:xfrm>
            <a:custGeom>
              <a:avLst/>
              <a:gdLst>
                <a:gd name="connsiteX0" fmla="*/ 538733 w 2199425"/>
                <a:gd name="connsiteY0" fmla="*/ 1550754 h 1636287"/>
                <a:gd name="connsiteX1" fmla="*/ 86098 w 2199425"/>
                <a:gd name="connsiteY1" fmla="*/ 1428564 h 1636287"/>
                <a:gd name="connsiteX2" fmla="*/ 80785 w 2199425"/>
                <a:gd name="connsiteY2" fmla="*/ 1416876 h 1636287"/>
                <a:gd name="connsiteX3" fmla="*/ 115848 w 2199425"/>
                <a:gd name="connsiteY3" fmla="*/ 1102369 h 1636287"/>
                <a:gd name="connsiteX4" fmla="*/ 257164 w 2199425"/>
                <a:gd name="connsiteY4" fmla="*/ 988679 h 1636287"/>
                <a:gd name="connsiteX5" fmla="*/ 2193084 w 2199425"/>
                <a:gd name="connsiteY5" fmla="*/ 49407 h 1636287"/>
                <a:gd name="connsiteX6" fmla="*/ 2193084 w 2199425"/>
                <a:gd name="connsiteY6" fmla="*/ 7969 h 1636287"/>
                <a:gd name="connsiteX7" fmla="*/ 241226 w 2199425"/>
                <a:gd name="connsiteY7" fmla="*/ 954678 h 1636287"/>
                <a:gd name="connsiteX8" fmla="*/ 23409 w 2199425"/>
                <a:gd name="connsiteY8" fmla="*/ 1187371 h 1636287"/>
                <a:gd name="connsiteX9" fmla="*/ 47847 w 2199425"/>
                <a:gd name="connsiteY9" fmla="*/ 1433876 h 1636287"/>
                <a:gd name="connsiteX10" fmla="*/ 53160 w 2199425"/>
                <a:gd name="connsiteY10" fmla="*/ 1445564 h 1636287"/>
                <a:gd name="connsiteX11" fmla="*/ 358104 w 2199425"/>
                <a:gd name="connsiteY11" fmla="*/ 1635756 h 1636287"/>
                <a:gd name="connsiteX12" fmla="*/ 555734 w 2199425"/>
                <a:gd name="connsiteY12" fmla="*/ 1585817 h 1636287"/>
                <a:gd name="connsiteX13" fmla="*/ 2193084 w 2199425"/>
                <a:gd name="connsiteY13" fmla="*/ 789987 h 1636287"/>
                <a:gd name="connsiteX14" fmla="*/ 2193084 w 2199425"/>
                <a:gd name="connsiteY14" fmla="*/ 748548 h 1636287"/>
                <a:gd name="connsiteX15" fmla="*/ 538733 w 2199425"/>
                <a:gd name="connsiteY15" fmla="*/ 1550754 h 163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9425" h="1636287">
                  <a:moveTo>
                    <a:pt x="538733" y="1550754"/>
                  </a:moveTo>
                  <a:cubicBezTo>
                    <a:pt x="228476" y="1701633"/>
                    <a:pt x="90348" y="1439189"/>
                    <a:pt x="86098" y="1428564"/>
                  </a:cubicBezTo>
                  <a:lnTo>
                    <a:pt x="80785" y="1416876"/>
                  </a:lnTo>
                  <a:cubicBezTo>
                    <a:pt x="24471" y="1303186"/>
                    <a:pt x="35097" y="1196934"/>
                    <a:pt x="115848" y="1102369"/>
                  </a:cubicBezTo>
                  <a:cubicBezTo>
                    <a:pt x="176412" y="1030117"/>
                    <a:pt x="256102" y="989741"/>
                    <a:pt x="257164" y="988679"/>
                  </a:cubicBezTo>
                  <a:lnTo>
                    <a:pt x="2193084" y="49407"/>
                  </a:lnTo>
                  <a:lnTo>
                    <a:pt x="2193084" y="7969"/>
                  </a:lnTo>
                  <a:lnTo>
                    <a:pt x="241226" y="954678"/>
                  </a:lnTo>
                  <a:cubicBezTo>
                    <a:pt x="234851" y="958928"/>
                    <a:pt x="74410" y="1037555"/>
                    <a:pt x="23409" y="1187371"/>
                  </a:cubicBezTo>
                  <a:cubicBezTo>
                    <a:pt x="-3154" y="1265998"/>
                    <a:pt x="4283" y="1348875"/>
                    <a:pt x="47847" y="1433876"/>
                  </a:cubicBezTo>
                  <a:lnTo>
                    <a:pt x="53160" y="1445564"/>
                  </a:lnTo>
                  <a:cubicBezTo>
                    <a:pt x="53160" y="1447689"/>
                    <a:pt x="150912" y="1635756"/>
                    <a:pt x="358104" y="1635756"/>
                  </a:cubicBezTo>
                  <a:cubicBezTo>
                    <a:pt x="415480" y="1635756"/>
                    <a:pt x="481357" y="1621943"/>
                    <a:pt x="555734" y="1585817"/>
                  </a:cubicBezTo>
                  <a:lnTo>
                    <a:pt x="2193084" y="789987"/>
                  </a:lnTo>
                  <a:lnTo>
                    <a:pt x="2193084" y="748548"/>
                  </a:lnTo>
                  <a:lnTo>
                    <a:pt x="538733" y="155075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7" name="Title 6">
            <a:extLst>
              <a:ext uri="{FF2B5EF4-FFF2-40B4-BE49-F238E27FC236}">
                <a16:creationId xmlns:a16="http://schemas.microsoft.com/office/drawing/2014/main" id="{5E5109FC-8CB6-4120-99CF-163DDAB90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418" y="301226"/>
            <a:ext cx="9562639" cy="945498"/>
          </a:xfrm>
        </p:spPr>
        <p:txBody>
          <a:bodyPr>
            <a:noAutofit/>
          </a:bodyPr>
          <a:lstStyle>
            <a:lvl1pPr>
              <a:defRPr sz="5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65135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Oval 47">
            <a:extLst>
              <a:ext uri="{FF2B5EF4-FFF2-40B4-BE49-F238E27FC236}">
                <a16:creationId xmlns:a16="http://schemas.microsoft.com/office/drawing/2014/main" id="{2F290D8B-987A-4555-890C-F3CD026BF7BF}"/>
              </a:ext>
            </a:extLst>
          </p:cNvPr>
          <p:cNvSpPr/>
          <p:nvPr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Graphic 12">
            <a:extLst>
              <a:ext uri="{FF2B5EF4-FFF2-40B4-BE49-F238E27FC236}">
                <a16:creationId xmlns:a16="http://schemas.microsoft.com/office/drawing/2014/main" id="{6139C5E6-5A04-4458-8EF9-628BFBA73A92}"/>
              </a:ext>
            </a:extLst>
          </p:cNvPr>
          <p:cNvSpPr/>
          <p:nvPr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2A0631-3130-4C36-8E5E-80464B1A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205F7-811A-4606-AC7E-593528945A21}" type="datetimeFigureOut">
              <a:rPr lang="en-GB" smtClean="0"/>
              <a:t>11/1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230F82-FE68-4450-98DF-5D29369AE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6603C1-6E1A-4E4B-9555-31D84B6BD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757CD-3B46-4C63-B887-90DD93699826}" type="slidenum">
              <a:rPr lang="en-GB" smtClean="0"/>
              <a:t>‹#›</a:t>
            </a:fld>
            <a:endParaRPr lang="en-GB"/>
          </a:p>
        </p:txBody>
      </p:sp>
      <p:grpSp>
        <p:nvGrpSpPr>
          <p:cNvPr id="41" name="Graphic 39">
            <a:extLst>
              <a:ext uri="{FF2B5EF4-FFF2-40B4-BE49-F238E27FC236}">
                <a16:creationId xmlns:a16="http://schemas.microsoft.com/office/drawing/2014/main" id="{1D75FFD8-3F66-48B3-BB01-D4B8A9496851}"/>
              </a:ext>
            </a:extLst>
          </p:cNvPr>
          <p:cNvGrpSpPr/>
          <p:nvPr/>
        </p:nvGrpSpPr>
        <p:grpSpPr>
          <a:xfrm>
            <a:off x="10008352" y="0"/>
            <a:ext cx="2188800" cy="1933794"/>
            <a:chOff x="10003200" y="0"/>
            <a:chExt cx="2188800" cy="1933794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9BA0EC60-510D-41EF-AFE6-E4E6BD83F8C9}"/>
                </a:ext>
              </a:extLst>
            </p:cNvPr>
            <p:cNvSpPr/>
            <p:nvPr/>
          </p:nvSpPr>
          <p:spPr>
            <a:xfrm>
              <a:off x="10712341" y="-7969"/>
              <a:ext cx="1466283" cy="1009398"/>
            </a:xfrm>
            <a:custGeom>
              <a:avLst/>
              <a:gdLst>
                <a:gd name="connsiteX0" fmla="*/ 1467972 w 1466283"/>
                <a:gd name="connsiteY0" fmla="*/ 752798 h 1009397"/>
                <a:gd name="connsiteX1" fmla="*/ 1221466 w 1466283"/>
                <a:gd name="connsiteY1" fmla="*/ 871801 h 1009397"/>
                <a:gd name="connsiteX2" fmla="*/ 425635 w 1466283"/>
                <a:gd name="connsiteY2" fmla="*/ 821862 h 1009397"/>
                <a:gd name="connsiteX3" fmla="*/ 158942 w 1466283"/>
                <a:gd name="connsiteY3" fmla="*/ 510543 h 1009397"/>
                <a:gd name="connsiteX4" fmla="*/ 145129 w 1466283"/>
                <a:gd name="connsiteY4" fmla="*/ 482917 h 1009397"/>
                <a:gd name="connsiteX5" fmla="*/ 52689 w 1466283"/>
                <a:gd name="connsiteY5" fmla="*/ 7969 h 1009397"/>
                <a:gd name="connsiteX6" fmla="*/ 14439 w 1466283"/>
                <a:gd name="connsiteY6" fmla="*/ 7969 h 1009397"/>
                <a:gd name="connsiteX7" fmla="*/ 111128 w 1466283"/>
                <a:gd name="connsiteY7" fmla="*/ 499918 h 1009397"/>
                <a:gd name="connsiteX8" fmla="*/ 124941 w 1466283"/>
                <a:gd name="connsiteY8" fmla="*/ 527543 h 1009397"/>
                <a:gd name="connsiteX9" fmla="*/ 402260 w 1466283"/>
                <a:gd name="connsiteY9" fmla="*/ 851613 h 1009397"/>
                <a:gd name="connsiteX10" fmla="*/ 845333 w 1466283"/>
                <a:gd name="connsiteY10" fmla="*/ 1004617 h 1009397"/>
                <a:gd name="connsiteX11" fmla="*/ 1238467 w 1466283"/>
                <a:gd name="connsiteY11" fmla="*/ 906864 h 1009397"/>
                <a:gd name="connsiteX12" fmla="*/ 1467972 w 1466283"/>
                <a:gd name="connsiteY12" fmla="*/ 795299 h 1009397"/>
                <a:gd name="connsiteX13" fmla="*/ 1467972 w 1466283"/>
                <a:gd name="connsiteY13" fmla="*/ 752798 h 1009397"/>
                <a:gd name="connsiteX14" fmla="*/ 1467972 w 1466283"/>
                <a:gd name="connsiteY14" fmla="*/ 752798 h 1009397"/>
                <a:gd name="connsiteX15" fmla="*/ 1467972 w 1466283"/>
                <a:gd name="connsiteY15" fmla="*/ 752798 h 100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66283" h="1009397">
                  <a:moveTo>
                    <a:pt x="1467972" y="752798"/>
                  </a:moveTo>
                  <a:lnTo>
                    <a:pt x="1221466" y="871801"/>
                  </a:lnTo>
                  <a:cubicBezTo>
                    <a:pt x="928209" y="1015242"/>
                    <a:pt x="660453" y="997179"/>
                    <a:pt x="425635" y="821862"/>
                  </a:cubicBezTo>
                  <a:cubicBezTo>
                    <a:pt x="250319" y="689047"/>
                    <a:pt x="158942" y="512668"/>
                    <a:pt x="158942" y="510543"/>
                  </a:cubicBezTo>
                  <a:lnTo>
                    <a:pt x="145129" y="482917"/>
                  </a:lnTo>
                  <a:cubicBezTo>
                    <a:pt x="61190" y="315038"/>
                    <a:pt x="29314" y="155660"/>
                    <a:pt x="52689" y="7969"/>
                  </a:cubicBezTo>
                  <a:lnTo>
                    <a:pt x="14439" y="7969"/>
                  </a:lnTo>
                  <a:cubicBezTo>
                    <a:pt x="-6812" y="163097"/>
                    <a:pt x="24001" y="327789"/>
                    <a:pt x="111128" y="499918"/>
                  </a:cubicBezTo>
                  <a:lnTo>
                    <a:pt x="124941" y="527543"/>
                  </a:lnTo>
                  <a:cubicBezTo>
                    <a:pt x="129191" y="534981"/>
                    <a:pt x="219506" y="714548"/>
                    <a:pt x="402260" y="851613"/>
                  </a:cubicBezTo>
                  <a:cubicBezTo>
                    <a:pt x="508512" y="931302"/>
                    <a:pt x="656203" y="1004617"/>
                    <a:pt x="845333" y="1004617"/>
                  </a:cubicBezTo>
                  <a:cubicBezTo>
                    <a:pt x="961148" y="1004617"/>
                    <a:pt x="1091838" y="976991"/>
                    <a:pt x="1238467" y="906864"/>
                  </a:cubicBezTo>
                  <a:lnTo>
                    <a:pt x="1467972" y="795299"/>
                  </a:lnTo>
                  <a:lnTo>
                    <a:pt x="1467972" y="752798"/>
                  </a:lnTo>
                  <a:lnTo>
                    <a:pt x="1467972" y="752798"/>
                  </a:lnTo>
                  <a:lnTo>
                    <a:pt x="1467972" y="75279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0162C508-E081-418C-A19D-15A59388C43A}"/>
                </a:ext>
              </a:extLst>
            </p:cNvPr>
            <p:cNvSpPr/>
            <p:nvPr/>
          </p:nvSpPr>
          <p:spPr>
            <a:xfrm>
              <a:off x="10014209" y="321414"/>
              <a:ext cx="2178175" cy="1593786"/>
            </a:xfrm>
            <a:custGeom>
              <a:avLst/>
              <a:gdLst>
                <a:gd name="connsiteX0" fmla="*/ 231247 w 2178174"/>
                <a:gd name="connsiteY0" fmla="*/ 950428 h 1593786"/>
                <a:gd name="connsiteX1" fmla="*/ 45305 w 2178174"/>
                <a:gd name="connsiteY1" fmla="*/ 1404126 h 1593786"/>
                <a:gd name="connsiteX2" fmla="*/ 50617 w 2178174"/>
                <a:gd name="connsiteY2" fmla="*/ 1415814 h 1593786"/>
                <a:gd name="connsiteX3" fmla="*/ 529816 w 2178174"/>
                <a:gd name="connsiteY3" fmla="*/ 1547566 h 1593786"/>
                <a:gd name="connsiteX4" fmla="*/ 2173541 w 2178174"/>
                <a:gd name="connsiteY4" fmla="*/ 749611 h 1593786"/>
                <a:gd name="connsiteX5" fmla="*/ 2173541 w 2178174"/>
                <a:gd name="connsiteY5" fmla="*/ 7969 h 1593786"/>
                <a:gd name="connsiteX6" fmla="*/ 231247 w 2178174"/>
                <a:gd name="connsiteY6" fmla="*/ 950428 h 1593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8174" h="1593786">
                  <a:moveTo>
                    <a:pt x="231247" y="950428"/>
                  </a:moveTo>
                  <a:cubicBezTo>
                    <a:pt x="231247" y="950428"/>
                    <a:pt x="-101324" y="1111932"/>
                    <a:pt x="45305" y="1404126"/>
                  </a:cubicBezTo>
                  <a:lnTo>
                    <a:pt x="50617" y="1415814"/>
                  </a:lnTo>
                  <a:cubicBezTo>
                    <a:pt x="50617" y="1415814"/>
                    <a:pt x="197246" y="1708008"/>
                    <a:pt x="529816" y="1547566"/>
                  </a:cubicBezTo>
                  <a:lnTo>
                    <a:pt x="2173541" y="749611"/>
                  </a:lnTo>
                  <a:lnTo>
                    <a:pt x="2173541" y="7969"/>
                  </a:lnTo>
                  <a:lnTo>
                    <a:pt x="231247" y="950428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710D7D-FC65-4BF6-BDA4-E59B01AD6FBC}"/>
                </a:ext>
              </a:extLst>
            </p:cNvPr>
            <p:cNvSpPr/>
            <p:nvPr/>
          </p:nvSpPr>
          <p:spPr>
            <a:xfrm>
              <a:off x="10732016" y="-7969"/>
              <a:ext cx="1455658" cy="839394"/>
            </a:xfrm>
            <a:custGeom>
              <a:avLst/>
              <a:gdLst>
                <a:gd name="connsiteX0" fmla="*/ 123329 w 1455658"/>
                <a:gd name="connsiteY0" fmla="*/ 521168 h 839394"/>
                <a:gd name="connsiteX1" fmla="*/ 390022 w 1455658"/>
                <a:gd name="connsiteY1" fmla="*/ 834613 h 839394"/>
                <a:gd name="connsiteX2" fmla="*/ 1455734 w 1455658"/>
                <a:gd name="connsiteY2" fmla="*/ 317163 h 839394"/>
                <a:gd name="connsiteX3" fmla="*/ 1456797 w 1455658"/>
                <a:gd name="connsiteY3" fmla="*/ 7969 h 839394"/>
                <a:gd name="connsiteX4" fmla="*/ 14951 w 1455658"/>
                <a:gd name="connsiteY4" fmla="*/ 7969 h 839394"/>
                <a:gd name="connsiteX5" fmla="*/ 109516 w 1455658"/>
                <a:gd name="connsiteY5" fmla="*/ 493543 h 839394"/>
                <a:gd name="connsiteX6" fmla="*/ 123329 w 1455658"/>
                <a:gd name="connsiteY6" fmla="*/ 521168 h 83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5658" h="839394">
                  <a:moveTo>
                    <a:pt x="123329" y="521168"/>
                  </a:moveTo>
                  <a:cubicBezTo>
                    <a:pt x="123329" y="521168"/>
                    <a:pt x="212581" y="698610"/>
                    <a:pt x="390022" y="834613"/>
                  </a:cubicBezTo>
                  <a:lnTo>
                    <a:pt x="1455734" y="317163"/>
                  </a:lnTo>
                  <a:lnTo>
                    <a:pt x="1456797" y="7969"/>
                  </a:lnTo>
                  <a:lnTo>
                    <a:pt x="14951" y="7969"/>
                  </a:lnTo>
                  <a:cubicBezTo>
                    <a:pt x="-5237" y="145035"/>
                    <a:pt x="16014" y="307601"/>
                    <a:pt x="109516" y="493543"/>
                  </a:cubicBezTo>
                  <a:lnTo>
                    <a:pt x="123329" y="521168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18811B6B-BBB0-4D69-AEF8-AD0A7F9A4B57}"/>
                </a:ext>
              </a:extLst>
            </p:cNvPr>
            <p:cNvSpPr/>
            <p:nvPr/>
          </p:nvSpPr>
          <p:spPr>
            <a:xfrm>
              <a:off x="11124635" y="1146995"/>
              <a:ext cx="1062524" cy="743767"/>
            </a:xfrm>
            <a:custGeom>
              <a:avLst/>
              <a:gdLst>
                <a:gd name="connsiteX0" fmla="*/ 1064178 w 1062524"/>
                <a:gd name="connsiteY0" fmla="*/ 7969 h 743766"/>
                <a:gd name="connsiteX1" fmla="*/ 91968 w 1062524"/>
                <a:gd name="connsiteY1" fmla="*/ 480792 h 743766"/>
                <a:gd name="connsiteX2" fmla="*/ 22904 w 1062524"/>
                <a:gd name="connsiteY2" fmla="*/ 658234 h 743766"/>
                <a:gd name="connsiteX3" fmla="*/ 25029 w 1062524"/>
                <a:gd name="connsiteY3" fmla="*/ 663546 h 743766"/>
                <a:gd name="connsiteX4" fmla="*/ 209908 w 1062524"/>
                <a:gd name="connsiteY4" fmla="*/ 718798 h 743766"/>
                <a:gd name="connsiteX5" fmla="*/ 1064178 w 1062524"/>
                <a:gd name="connsiteY5" fmla="*/ 302288 h 743766"/>
                <a:gd name="connsiteX6" fmla="*/ 1064178 w 1062524"/>
                <a:gd name="connsiteY6" fmla="*/ 7969 h 743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2524" h="743766">
                  <a:moveTo>
                    <a:pt x="1064178" y="7969"/>
                  </a:moveTo>
                  <a:lnTo>
                    <a:pt x="91968" y="480792"/>
                  </a:lnTo>
                  <a:cubicBezTo>
                    <a:pt x="91968" y="480792"/>
                    <a:pt x="-34472" y="543481"/>
                    <a:pt x="22904" y="658234"/>
                  </a:cubicBezTo>
                  <a:lnTo>
                    <a:pt x="25029" y="663546"/>
                  </a:lnTo>
                  <a:cubicBezTo>
                    <a:pt x="25029" y="663546"/>
                    <a:pt x="82405" y="780424"/>
                    <a:pt x="209908" y="718798"/>
                  </a:cubicBezTo>
                  <a:lnTo>
                    <a:pt x="1064178" y="302288"/>
                  </a:lnTo>
                  <a:lnTo>
                    <a:pt x="1064178" y="7969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DB7F04C-0D31-4172-9D02-F8C8B2043EB9}"/>
                </a:ext>
              </a:extLst>
            </p:cNvPr>
            <p:cNvSpPr/>
            <p:nvPr/>
          </p:nvSpPr>
          <p:spPr>
            <a:xfrm>
              <a:off x="11105057" y="1128932"/>
              <a:ext cx="1083775" cy="775643"/>
            </a:xfrm>
            <a:custGeom>
              <a:avLst/>
              <a:gdLst>
                <a:gd name="connsiteX0" fmla="*/ 219924 w 1083774"/>
                <a:gd name="connsiteY0" fmla="*/ 719860 h 775642"/>
                <a:gd name="connsiteX1" fmla="*/ 60545 w 1083774"/>
                <a:gd name="connsiteY1" fmla="*/ 674172 h 775642"/>
                <a:gd name="connsiteX2" fmla="*/ 58420 w 1083774"/>
                <a:gd name="connsiteY2" fmla="*/ 668859 h 775642"/>
                <a:gd name="connsiteX3" fmla="*/ 118984 w 1083774"/>
                <a:gd name="connsiteY3" fmla="*/ 515856 h 775642"/>
                <a:gd name="connsiteX4" fmla="*/ 1083756 w 1083774"/>
                <a:gd name="connsiteY4" fmla="*/ 48345 h 775642"/>
                <a:gd name="connsiteX5" fmla="*/ 1083756 w 1083774"/>
                <a:gd name="connsiteY5" fmla="*/ 7969 h 775642"/>
                <a:gd name="connsiteX6" fmla="*/ 103046 w 1083774"/>
                <a:gd name="connsiteY6" fmla="*/ 482917 h 775642"/>
                <a:gd name="connsiteX7" fmla="*/ 14856 w 1083774"/>
                <a:gd name="connsiteY7" fmla="*/ 578544 h 775642"/>
                <a:gd name="connsiteX8" fmla="*/ 24419 w 1083774"/>
                <a:gd name="connsiteY8" fmla="*/ 686922 h 775642"/>
                <a:gd name="connsiteX9" fmla="*/ 26544 w 1083774"/>
                <a:gd name="connsiteY9" fmla="*/ 692234 h 775642"/>
                <a:gd name="connsiteX10" fmla="*/ 157235 w 1083774"/>
                <a:gd name="connsiteY10" fmla="*/ 775111 h 775642"/>
                <a:gd name="connsiteX11" fmla="*/ 236924 w 1083774"/>
                <a:gd name="connsiteY11" fmla="*/ 754923 h 775642"/>
                <a:gd name="connsiteX12" fmla="*/ 1083756 w 1083774"/>
                <a:gd name="connsiteY12" fmla="*/ 344789 h 775642"/>
                <a:gd name="connsiteX13" fmla="*/ 1083756 w 1083774"/>
                <a:gd name="connsiteY13" fmla="*/ 301226 h 775642"/>
                <a:gd name="connsiteX14" fmla="*/ 219924 w 1083774"/>
                <a:gd name="connsiteY14" fmla="*/ 719860 h 77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83774" h="775642">
                  <a:moveTo>
                    <a:pt x="219924" y="719860"/>
                  </a:moveTo>
                  <a:cubicBezTo>
                    <a:pt x="112609" y="771924"/>
                    <a:pt x="65858" y="683734"/>
                    <a:pt x="60545" y="674172"/>
                  </a:cubicBezTo>
                  <a:lnTo>
                    <a:pt x="58420" y="668859"/>
                  </a:lnTo>
                  <a:cubicBezTo>
                    <a:pt x="9544" y="571107"/>
                    <a:pt x="114734" y="519043"/>
                    <a:pt x="118984" y="515856"/>
                  </a:cubicBezTo>
                  <a:lnTo>
                    <a:pt x="1083756" y="48345"/>
                  </a:lnTo>
                  <a:lnTo>
                    <a:pt x="1083756" y="7969"/>
                  </a:lnTo>
                  <a:lnTo>
                    <a:pt x="103046" y="482917"/>
                  </a:lnTo>
                  <a:cubicBezTo>
                    <a:pt x="100921" y="483980"/>
                    <a:pt x="36107" y="516918"/>
                    <a:pt x="14856" y="578544"/>
                  </a:cubicBezTo>
                  <a:cubicBezTo>
                    <a:pt x="3169" y="613608"/>
                    <a:pt x="6356" y="649733"/>
                    <a:pt x="24419" y="686922"/>
                  </a:cubicBezTo>
                  <a:lnTo>
                    <a:pt x="26544" y="692234"/>
                  </a:lnTo>
                  <a:cubicBezTo>
                    <a:pt x="44607" y="726235"/>
                    <a:pt x="88171" y="775111"/>
                    <a:pt x="157235" y="775111"/>
                  </a:cubicBezTo>
                  <a:cubicBezTo>
                    <a:pt x="180610" y="775111"/>
                    <a:pt x="207173" y="768736"/>
                    <a:pt x="236924" y="754923"/>
                  </a:cubicBezTo>
                  <a:lnTo>
                    <a:pt x="1083756" y="344789"/>
                  </a:lnTo>
                  <a:lnTo>
                    <a:pt x="1083756" y="301226"/>
                  </a:lnTo>
                  <a:lnTo>
                    <a:pt x="219924" y="71986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1FB04931-77A8-4259-95CA-DA7DEDB2DEFD}"/>
                </a:ext>
              </a:extLst>
            </p:cNvPr>
            <p:cNvSpPr/>
            <p:nvPr/>
          </p:nvSpPr>
          <p:spPr>
            <a:xfrm>
              <a:off x="9994666" y="301226"/>
              <a:ext cx="2199425" cy="1636287"/>
            </a:xfrm>
            <a:custGeom>
              <a:avLst/>
              <a:gdLst>
                <a:gd name="connsiteX0" fmla="*/ 538733 w 2199425"/>
                <a:gd name="connsiteY0" fmla="*/ 1550754 h 1636287"/>
                <a:gd name="connsiteX1" fmla="*/ 86098 w 2199425"/>
                <a:gd name="connsiteY1" fmla="*/ 1428564 h 1636287"/>
                <a:gd name="connsiteX2" fmla="*/ 80785 w 2199425"/>
                <a:gd name="connsiteY2" fmla="*/ 1416876 h 1636287"/>
                <a:gd name="connsiteX3" fmla="*/ 115848 w 2199425"/>
                <a:gd name="connsiteY3" fmla="*/ 1102369 h 1636287"/>
                <a:gd name="connsiteX4" fmla="*/ 257164 w 2199425"/>
                <a:gd name="connsiteY4" fmla="*/ 988679 h 1636287"/>
                <a:gd name="connsiteX5" fmla="*/ 2193084 w 2199425"/>
                <a:gd name="connsiteY5" fmla="*/ 49407 h 1636287"/>
                <a:gd name="connsiteX6" fmla="*/ 2193084 w 2199425"/>
                <a:gd name="connsiteY6" fmla="*/ 7969 h 1636287"/>
                <a:gd name="connsiteX7" fmla="*/ 241226 w 2199425"/>
                <a:gd name="connsiteY7" fmla="*/ 954678 h 1636287"/>
                <a:gd name="connsiteX8" fmla="*/ 23409 w 2199425"/>
                <a:gd name="connsiteY8" fmla="*/ 1187371 h 1636287"/>
                <a:gd name="connsiteX9" fmla="*/ 47847 w 2199425"/>
                <a:gd name="connsiteY9" fmla="*/ 1433876 h 1636287"/>
                <a:gd name="connsiteX10" fmla="*/ 53160 w 2199425"/>
                <a:gd name="connsiteY10" fmla="*/ 1445564 h 1636287"/>
                <a:gd name="connsiteX11" fmla="*/ 358104 w 2199425"/>
                <a:gd name="connsiteY11" fmla="*/ 1635756 h 1636287"/>
                <a:gd name="connsiteX12" fmla="*/ 555734 w 2199425"/>
                <a:gd name="connsiteY12" fmla="*/ 1585817 h 1636287"/>
                <a:gd name="connsiteX13" fmla="*/ 2193084 w 2199425"/>
                <a:gd name="connsiteY13" fmla="*/ 789987 h 1636287"/>
                <a:gd name="connsiteX14" fmla="*/ 2193084 w 2199425"/>
                <a:gd name="connsiteY14" fmla="*/ 748548 h 1636287"/>
                <a:gd name="connsiteX15" fmla="*/ 538733 w 2199425"/>
                <a:gd name="connsiteY15" fmla="*/ 1550754 h 163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9425" h="1636287">
                  <a:moveTo>
                    <a:pt x="538733" y="1550754"/>
                  </a:moveTo>
                  <a:cubicBezTo>
                    <a:pt x="228476" y="1701633"/>
                    <a:pt x="90348" y="1439189"/>
                    <a:pt x="86098" y="1428564"/>
                  </a:cubicBezTo>
                  <a:lnTo>
                    <a:pt x="80785" y="1416876"/>
                  </a:lnTo>
                  <a:cubicBezTo>
                    <a:pt x="24471" y="1303186"/>
                    <a:pt x="35097" y="1196934"/>
                    <a:pt x="115848" y="1102369"/>
                  </a:cubicBezTo>
                  <a:cubicBezTo>
                    <a:pt x="176412" y="1030117"/>
                    <a:pt x="256102" y="989741"/>
                    <a:pt x="257164" y="988679"/>
                  </a:cubicBezTo>
                  <a:lnTo>
                    <a:pt x="2193084" y="49407"/>
                  </a:lnTo>
                  <a:lnTo>
                    <a:pt x="2193084" y="7969"/>
                  </a:lnTo>
                  <a:lnTo>
                    <a:pt x="241226" y="954678"/>
                  </a:lnTo>
                  <a:cubicBezTo>
                    <a:pt x="234851" y="958928"/>
                    <a:pt x="74410" y="1037555"/>
                    <a:pt x="23409" y="1187371"/>
                  </a:cubicBezTo>
                  <a:cubicBezTo>
                    <a:pt x="-3154" y="1265998"/>
                    <a:pt x="4283" y="1348875"/>
                    <a:pt x="47847" y="1433876"/>
                  </a:cubicBezTo>
                  <a:lnTo>
                    <a:pt x="53160" y="1445564"/>
                  </a:lnTo>
                  <a:cubicBezTo>
                    <a:pt x="53160" y="1447689"/>
                    <a:pt x="150912" y="1635756"/>
                    <a:pt x="358104" y="1635756"/>
                  </a:cubicBezTo>
                  <a:cubicBezTo>
                    <a:pt x="415480" y="1635756"/>
                    <a:pt x="481357" y="1621943"/>
                    <a:pt x="555734" y="1585817"/>
                  </a:cubicBezTo>
                  <a:lnTo>
                    <a:pt x="2193084" y="789987"/>
                  </a:lnTo>
                  <a:lnTo>
                    <a:pt x="2193084" y="748548"/>
                  </a:lnTo>
                  <a:lnTo>
                    <a:pt x="538733" y="155075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7" name="Title 6">
            <a:extLst>
              <a:ext uri="{FF2B5EF4-FFF2-40B4-BE49-F238E27FC236}">
                <a16:creationId xmlns:a16="http://schemas.microsoft.com/office/drawing/2014/main" id="{5E5109FC-8CB6-4120-99CF-163DDAB90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9050518" cy="9454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Graphic 19">
            <a:extLst>
              <a:ext uri="{FF2B5EF4-FFF2-40B4-BE49-F238E27FC236}">
                <a16:creationId xmlns:a16="http://schemas.microsoft.com/office/drawing/2014/main" id="{9462DA56-F882-470A-8F8C-A55B25FD8A7A}"/>
              </a:ext>
            </a:extLst>
          </p:cNvPr>
          <p:cNvSpPr/>
          <p:nvPr/>
        </p:nvSpPr>
        <p:spPr>
          <a:xfrm>
            <a:off x="838200" y="1492524"/>
            <a:ext cx="6153912" cy="151200"/>
          </a:xfrm>
          <a:custGeom>
            <a:avLst/>
            <a:gdLst>
              <a:gd name="connsiteX0" fmla="*/ 4568666 w 4629150"/>
              <a:gd name="connsiteY0" fmla="*/ 118586 h 123825"/>
              <a:gd name="connsiteX1" fmla="*/ 62389 w 4629150"/>
              <a:gd name="connsiteY1" fmla="*/ 118586 h 123825"/>
              <a:gd name="connsiteX2" fmla="*/ 7144 w 4629150"/>
              <a:gd name="connsiteY2" fmla="*/ 62389 h 123825"/>
              <a:gd name="connsiteX3" fmla="*/ 7144 w 4629150"/>
              <a:gd name="connsiteY3" fmla="*/ 62389 h 123825"/>
              <a:gd name="connsiteX4" fmla="*/ 62389 w 4629150"/>
              <a:gd name="connsiteY4" fmla="*/ 7144 h 123825"/>
              <a:gd name="connsiteX5" fmla="*/ 4568666 w 4629150"/>
              <a:gd name="connsiteY5" fmla="*/ 7144 h 123825"/>
              <a:gd name="connsiteX6" fmla="*/ 4623912 w 4629150"/>
              <a:gd name="connsiteY6" fmla="*/ 62389 h 123825"/>
              <a:gd name="connsiteX7" fmla="*/ 4623912 w 4629150"/>
              <a:gd name="connsiteY7" fmla="*/ 62389 h 123825"/>
              <a:gd name="connsiteX8" fmla="*/ 4568666 w 4629150"/>
              <a:gd name="connsiteY8" fmla="*/ 118586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29150" h="123825">
                <a:moveTo>
                  <a:pt x="4568666" y="118586"/>
                </a:moveTo>
                <a:lnTo>
                  <a:pt x="62389" y="118586"/>
                </a:lnTo>
                <a:cubicBezTo>
                  <a:pt x="31909" y="118586"/>
                  <a:pt x="7144" y="92869"/>
                  <a:pt x="7144" y="62389"/>
                </a:cubicBezTo>
                <a:lnTo>
                  <a:pt x="7144" y="62389"/>
                </a:lnTo>
                <a:cubicBezTo>
                  <a:pt x="7144" y="31909"/>
                  <a:pt x="31909" y="7144"/>
                  <a:pt x="62389" y="7144"/>
                </a:cubicBezTo>
                <a:lnTo>
                  <a:pt x="4568666" y="7144"/>
                </a:lnTo>
                <a:cubicBezTo>
                  <a:pt x="4599147" y="7144"/>
                  <a:pt x="4623912" y="31909"/>
                  <a:pt x="4623912" y="62389"/>
                </a:cubicBezTo>
                <a:lnTo>
                  <a:pt x="4623912" y="62389"/>
                </a:lnTo>
                <a:cubicBezTo>
                  <a:pt x="4623912" y="92869"/>
                  <a:pt x="4599147" y="118586"/>
                  <a:pt x="4568666" y="118586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4B91177-A100-491C-B5EF-BC77E2E33F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25624"/>
            <a:ext cx="5157787" cy="421084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B6758D2F-C9AC-4514-B48E-2863E8DDE0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323458"/>
            <a:ext cx="5157787" cy="3387547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33C3A9F-17E4-45DF-8DB7-7A55846AAA8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828800"/>
            <a:ext cx="5183188" cy="417908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5">
            <a:extLst>
              <a:ext uri="{FF2B5EF4-FFF2-40B4-BE49-F238E27FC236}">
                <a16:creationId xmlns:a16="http://schemas.microsoft.com/office/drawing/2014/main" id="{C19AB308-7C32-46C9-B8DB-AA96B7ED0D6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323458"/>
            <a:ext cx="5183188" cy="3387547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61162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Oval 47">
            <a:extLst>
              <a:ext uri="{FF2B5EF4-FFF2-40B4-BE49-F238E27FC236}">
                <a16:creationId xmlns:a16="http://schemas.microsoft.com/office/drawing/2014/main" id="{2F290D8B-987A-4555-890C-F3CD026BF7BF}"/>
              </a:ext>
            </a:extLst>
          </p:cNvPr>
          <p:cNvSpPr/>
          <p:nvPr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Graphic 12">
            <a:extLst>
              <a:ext uri="{FF2B5EF4-FFF2-40B4-BE49-F238E27FC236}">
                <a16:creationId xmlns:a16="http://schemas.microsoft.com/office/drawing/2014/main" id="{6139C5E6-5A04-4458-8EF9-628BFBA73A92}"/>
              </a:ext>
            </a:extLst>
          </p:cNvPr>
          <p:cNvSpPr/>
          <p:nvPr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2A0631-3130-4C36-8E5E-80464B1A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205F7-811A-4606-AC7E-593528945A21}" type="datetimeFigureOut">
              <a:rPr lang="en-GB" smtClean="0"/>
              <a:t>11/1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230F82-FE68-4450-98DF-5D29369AE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6603C1-6E1A-4E4B-9555-31D84B6BD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757CD-3B46-4C63-B887-90DD93699826}" type="slidenum">
              <a:rPr lang="en-GB" smtClean="0"/>
              <a:t>‹#›</a:t>
            </a:fld>
            <a:endParaRPr lang="en-GB"/>
          </a:p>
        </p:txBody>
      </p:sp>
      <p:grpSp>
        <p:nvGrpSpPr>
          <p:cNvPr id="41" name="Graphic 39">
            <a:extLst>
              <a:ext uri="{FF2B5EF4-FFF2-40B4-BE49-F238E27FC236}">
                <a16:creationId xmlns:a16="http://schemas.microsoft.com/office/drawing/2014/main" id="{1D75FFD8-3F66-48B3-BB01-D4B8A9496851}"/>
              </a:ext>
            </a:extLst>
          </p:cNvPr>
          <p:cNvGrpSpPr/>
          <p:nvPr/>
        </p:nvGrpSpPr>
        <p:grpSpPr>
          <a:xfrm>
            <a:off x="10008352" y="0"/>
            <a:ext cx="2188800" cy="1933794"/>
            <a:chOff x="10003200" y="0"/>
            <a:chExt cx="2188800" cy="1933794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9BA0EC60-510D-41EF-AFE6-E4E6BD83F8C9}"/>
                </a:ext>
              </a:extLst>
            </p:cNvPr>
            <p:cNvSpPr/>
            <p:nvPr/>
          </p:nvSpPr>
          <p:spPr>
            <a:xfrm>
              <a:off x="10712341" y="-7969"/>
              <a:ext cx="1466283" cy="1009398"/>
            </a:xfrm>
            <a:custGeom>
              <a:avLst/>
              <a:gdLst>
                <a:gd name="connsiteX0" fmla="*/ 1467972 w 1466283"/>
                <a:gd name="connsiteY0" fmla="*/ 752798 h 1009397"/>
                <a:gd name="connsiteX1" fmla="*/ 1221466 w 1466283"/>
                <a:gd name="connsiteY1" fmla="*/ 871801 h 1009397"/>
                <a:gd name="connsiteX2" fmla="*/ 425635 w 1466283"/>
                <a:gd name="connsiteY2" fmla="*/ 821862 h 1009397"/>
                <a:gd name="connsiteX3" fmla="*/ 158942 w 1466283"/>
                <a:gd name="connsiteY3" fmla="*/ 510543 h 1009397"/>
                <a:gd name="connsiteX4" fmla="*/ 145129 w 1466283"/>
                <a:gd name="connsiteY4" fmla="*/ 482917 h 1009397"/>
                <a:gd name="connsiteX5" fmla="*/ 52689 w 1466283"/>
                <a:gd name="connsiteY5" fmla="*/ 7969 h 1009397"/>
                <a:gd name="connsiteX6" fmla="*/ 14439 w 1466283"/>
                <a:gd name="connsiteY6" fmla="*/ 7969 h 1009397"/>
                <a:gd name="connsiteX7" fmla="*/ 111128 w 1466283"/>
                <a:gd name="connsiteY7" fmla="*/ 499918 h 1009397"/>
                <a:gd name="connsiteX8" fmla="*/ 124941 w 1466283"/>
                <a:gd name="connsiteY8" fmla="*/ 527543 h 1009397"/>
                <a:gd name="connsiteX9" fmla="*/ 402260 w 1466283"/>
                <a:gd name="connsiteY9" fmla="*/ 851613 h 1009397"/>
                <a:gd name="connsiteX10" fmla="*/ 845333 w 1466283"/>
                <a:gd name="connsiteY10" fmla="*/ 1004617 h 1009397"/>
                <a:gd name="connsiteX11" fmla="*/ 1238467 w 1466283"/>
                <a:gd name="connsiteY11" fmla="*/ 906864 h 1009397"/>
                <a:gd name="connsiteX12" fmla="*/ 1467972 w 1466283"/>
                <a:gd name="connsiteY12" fmla="*/ 795299 h 1009397"/>
                <a:gd name="connsiteX13" fmla="*/ 1467972 w 1466283"/>
                <a:gd name="connsiteY13" fmla="*/ 752798 h 1009397"/>
                <a:gd name="connsiteX14" fmla="*/ 1467972 w 1466283"/>
                <a:gd name="connsiteY14" fmla="*/ 752798 h 1009397"/>
                <a:gd name="connsiteX15" fmla="*/ 1467972 w 1466283"/>
                <a:gd name="connsiteY15" fmla="*/ 752798 h 100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66283" h="1009397">
                  <a:moveTo>
                    <a:pt x="1467972" y="752798"/>
                  </a:moveTo>
                  <a:lnTo>
                    <a:pt x="1221466" y="871801"/>
                  </a:lnTo>
                  <a:cubicBezTo>
                    <a:pt x="928209" y="1015242"/>
                    <a:pt x="660453" y="997179"/>
                    <a:pt x="425635" y="821862"/>
                  </a:cubicBezTo>
                  <a:cubicBezTo>
                    <a:pt x="250319" y="689047"/>
                    <a:pt x="158942" y="512668"/>
                    <a:pt x="158942" y="510543"/>
                  </a:cubicBezTo>
                  <a:lnTo>
                    <a:pt x="145129" y="482917"/>
                  </a:lnTo>
                  <a:cubicBezTo>
                    <a:pt x="61190" y="315038"/>
                    <a:pt x="29314" y="155660"/>
                    <a:pt x="52689" y="7969"/>
                  </a:cubicBezTo>
                  <a:lnTo>
                    <a:pt x="14439" y="7969"/>
                  </a:lnTo>
                  <a:cubicBezTo>
                    <a:pt x="-6812" y="163097"/>
                    <a:pt x="24001" y="327789"/>
                    <a:pt x="111128" y="499918"/>
                  </a:cubicBezTo>
                  <a:lnTo>
                    <a:pt x="124941" y="527543"/>
                  </a:lnTo>
                  <a:cubicBezTo>
                    <a:pt x="129191" y="534981"/>
                    <a:pt x="219506" y="714548"/>
                    <a:pt x="402260" y="851613"/>
                  </a:cubicBezTo>
                  <a:cubicBezTo>
                    <a:pt x="508512" y="931302"/>
                    <a:pt x="656203" y="1004617"/>
                    <a:pt x="845333" y="1004617"/>
                  </a:cubicBezTo>
                  <a:cubicBezTo>
                    <a:pt x="961148" y="1004617"/>
                    <a:pt x="1091838" y="976991"/>
                    <a:pt x="1238467" y="906864"/>
                  </a:cubicBezTo>
                  <a:lnTo>
                    <a:pt x="1467972" y="795299"/>
                  </a:lnTo>
                  <a:lnTo>
                    <a:pt x="1467972" y="752798"/>
                  </a:lnTo>
                  <a:lnTo>
                    <a:pt x="1467972" y="752798"/>
                  </a:lnTo>
                  <a:lnTo>
                    <a:pt x="1467972" y="75279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0162C508-E081-418C-A19D-15A59388C43A}"/>
                </a:ext>
              </a:extLst>
            </p:cNvPr>
            <p:cNvSpPr/>
            <p:nvPr/>
          </p:nvSpPr>
          <p:spPr>
            <a:xfrm>
              <a:off x="10014209" y="321414"/>
              <a:ext cx="2178175" cy="1593786"/>
            </a:xfrm>
            <a:custGeom>
              <a:avLst/>
              <a:gdLst>
                <a:gd name="connsiteX0" fmla="*/ 231247 w 2178174"/>
                <a:gd name="connsiteY0" fmla="*/ 950428 h 1593786"/>
                <a:gd name="connsiteX1" fmla="*/ 45305 w 2178174"/>
                <a:gd name="connsiteY1" fmla="*/ 1404126 h 1593786"/>
                <a:gd name="connsiteX2" fmla="*/ 50617 w 2178174"/>
                <a:gd name="connsiteY2" fmla="*/ 1415814 h 1593786"/>
                <a:gd name="connsiteX3" fmla="*/ 529816 w 2178174"/>
                <a:gd name="connsiteY3" fmla="*/ 1547566 h 1593786"/>
                <a:gd name="connsiteX4" fmla="*/ 2173541 w 2178174"/>
                <a:gd name="connsiteY4" fmla="*/ 749611 h 1593786"/>
                <a:gd name="connsiteX5" fmla="*/ 2173541 w 2178174"/>
                <a:gd name="connsiteY5" fmla="*/ 7969 h 1593786"/>
                <a:gd name="connsiteX6" fmla="*/ 231247 w 2178174"/>
                <a:gd name="connsiteY6" fmla="*/ 950428 h 1593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8174" h="1593786">
                  <a:moveTo>
                    <a:pt x="231247" y="950428"/>
                  </a:moveTo>
                  <a:cubicBezTo>
                    <a:pt x="231247" y="950428"/>
                    <a:pt x="-101324" y="1111932"/>
                    <a:pt x="45305" y="1404126"/>
                  </a:cubicBezTo>
                  <a:lnTo>
                    <a:pt x="50617" y="1415814"/>
                  </a:lnTo>
                  <a:cubicBezTo>
                    <a:pt x="50617" y="1415814"/>
                    <a:pt x="197246" y="1708008"/>
                    <a:pt x="529816" y="1547566"/>
                  </a:cubicBezTo>
                  <a:lnTo>
                    <a:pt x="2173541" y="749611"/>
                  </a:lnTo>
                  <a:lnTo>
                    <a:pt x="2173541" y="7969"/>
                  </a:lnTo>
                  <a:lnTo>
                    <a:pt x="231247" y="950428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710D7D-FC65-4BF6-BDA4-E59B01AD6FBC}"/>
                </a:ext>
              </a:extLst>
            </p:cNvPr>
            <p:cNvSpPr/>
            <p:nvPr/>
          </p:nvSpPr>
          <p:spPr>
            <a:xfrm>
              <a:off x="10732016" y="-7969"/>
              <a:ext cx="1455658" cy="839394"/>
            </a:xfrm>
            <a:custGeom>
              <a:avLst/>
              <a:gdLst>
                <a:gd name="connsiteX0" fmla="*/ 123329 w 1455658"/>
                <a:gd name="connsiteY0" fmla="*/ 521168 h 839394"/>
                <a:gd name="connsiteX1" fmla="*/ 390022 w 1455658"/>
                <a:gd name="connsiteY1" fmla="*/ 834613 h 839394"/>
                <a:gd name="connsiteX2" fmla="*/ 1455734 w 1455658"/>
                <a:gd name="connsiteY2" fmla="*/ 317163 h 839394"/>
                <a:gd name="connsiteX3" fmla="*/ 1456797 w 1455658"/>
                <a:gd name="connsiteY3" fmla="*/ 7969 h 839394"/>
                <a:gd name="connsiteX4" fmla="*/ 14951 w 1455658"/>
                <a:gd name="connsiteY4" fmla="*/ 7969 h 839394"/>
                <a:gd name="connsiteX5" fmla="*/ 109516 w 1455658"/>
                <a:gd name="connsiteY5" fmla="*/ 493543 h 839394"/>
                <a:gd name="connsiteX6" fmla="*/ 123329 w 1455658"/>
                <a:gd name="connsiteY6" fmla="*/ 521168 h 83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5658" h="839394">
                  <a:moveTo>
                    <a:pt x="123329" y="521168"/>
                  </a:moveTo>
                  <a:cubicBezTo>
                    <a:pt x="123329" y="521168"/>
                    <a:pt x="212581" y="698610"/>
                    <a:pt x="390022" y="834613"/>
                  </a:cubicBezTo>
                  <a:lnTo>
                    <a:pt x="1455734" y="317163"/>
                  </a:lnTo>
                  <a:lnTo>
                    <a:pt x="1456797" y="7969"/>
                  </a:lnTo>
                  <a:lnTo>
                    <a:pt x="14951" y="7969"/>
                  </a:lnTo>
                  <a:cubicBezTo>
                    <a:pt x="-5237" y="145035"/>
                    <a:pt x="16014" y="307601"/>
                    <a:pt x="109516" y="493543"/>
                  </a:cubicBezTo>
                  <a:lnTo>
                    <a:pt x="123329" y="521168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18811B6B-BBB0-4D69-AEF8-AD0A7F9A4B57}"/>
                </a:ext>
              </a:extLst>
            </p:cNvPr>
            <p:cNvSpPr/>
            <p:nvPr/>
          </p:nvSpPr>
          <p:spPr>
            <a:xfrm>
              <a:off x="11124635" y="1146995"/>
              <a:ext cx="1062524" cy="743767"/>
            </a:xfrm>
            <a:custGeom>
              <a:avLst/>
              <a:gdLst>
                <a:gd name="connsiteX0" fmla="*/ 1064178 w 1062524"/>
                <a:gd name="connsiteY0" fmla="*/ 7969 h 743766"/>
                <a:gd name="connsiteX1" fmla="*/ 91968 w 1062524"/>
                <a:gd name="connsiteY1" fmla="*/ 480792 h 743766"/>
                <a:gd name="connsiteX2" fmla="*/ 22904 w 1062524"/>
                <a:gd name="connsiteY2" fmla="*/ 658234 h 743766"/>
                <a:gd name="connsiteX3" fmla="*/ 25029 w 1062524"/>
                <a:gd name="connsiteY3" fmla="*/ 663546 h 743766"/>
                <a:gd name="connsiteX4" fmla="*/ 209908 w 1062524"/>
                <a:gd name="connsiteY4" fmla="*/ 718798 h 743766"/>
                <a:gd name="connsiteX5" fmla="*/ 1064178 w 1062524"/>
                <a:gd name="connsiteY5" fmla="*/ 302288 h 743766"/>
                <a:gd name="connsiteX6" fmla="*/ 1064178 w 1062524"/>
                <a:gd name="connsiteY6" fmla="*/ 7969 h 743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2524" h="743766">
                  <a:moveTo>
                    <a:pt x="1064178" y="7969"/>
                  </a:moveTo>
                  <a:lnTo>
                    <a:pt x="91968" y="480792"/>
                  </a:lnTo>
                  <a:cubicBezTo>
                    <a:pt x="91968" y="480792"/>
                    <a:pt x="-34472" y="543481"/>
                    <a:pt x="22904" y="658234"/>
                  </a:cubicBezTo>
                  <a:lnTo>
                    <a:pt x="25029" y="663546"/>
                  </a:lnTo>
                  <a:cubicBezTo>
                    <a:pt x="25029" y="663546"/>
                    <a:pt x="82405" y="780424"/>
                    <a:pt x="209908" y="718798"/>
                  </a:cubicBezTo>
                  <a:lnTo>
                    <a:pt x="1064178" y="302288"/>
                  </a:lnTo>
                  <a:lnTo>
                    <a:pt x="1064178" y="7969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DB7F04C-0D31-4172-9D02-F8C8B2043EB9}"/>
                </a:ext>
              </a:extLst>
            </p:cNvPr>
            <p:cNvSpPr/>
            <p:nvPr/>
          </p:nvSpPr>
          <p:spPr>
            <a:xfrm>
              <a:off x="11105057" y="1128932"/>
              <a:ext cx="1083775" cy="775643"/>
            </a:xfrm>
            <a:custGeom>
              <a:avLst/>
              <a:gdLst>
                <a:gd name="connsiteX0" fmla="*/ 219924 w 1083774"/>
                <a:gd name="connsiteY0" fmla="*/ 719860 h 775642"/>
                <a:gd name="connsiteX1" fmla="*/ 60545 w 1083774"/>
                <a:gd name="connsiteY1" fmla="*/ 674172 h 775642"/>
                <a:gd name="connsiteX2" fmla="*/ 58420 w 1083774"/>
                <a:gd name="connsiteY2" fmla="*/ 668859 h 775642"/>
                <a:gd name="connsiteX3" fmla="*/ 118984 w 1083774"/>
                <a:gd name="connsiteY3" fmla="*/ 515856 h 775642"/>
                <a:gd name="connsiteX4" fmla="*/ 1083756 w 1083774"/>
                <a:gd name="connsiteY4" fmla="*/ 48345 h 775642"/>
                <a:gd name="connsiteX5" fmla="*/ 1083756 w 1083774"/>
                <a:gd name="connsiteY5" fmla="*/ 7969 h 775642"/>
                <a:gd name="connsiteX6" fmla="*/ 103046 w 1083774"/>
                <a:gd name="connsiteY6" fmla="*/ 482917 h 775642"/>
                <a:gd name="connsiteX7" fmla="*/ 14856 w 1083774"/>
                <a:gd name="connsiteY7" fmla="*/ 578544 h 775642"/>
                <a:gd name="connsiteX8" fmla="*/ 24419 w 1083774"/>
                <a:gd name="connsiteY8" fmla="*/ 686922 h 775642"/>
                <a:gd name="connsiteX9" fmla="*/ 26544 w 1083774"/>
                <a:gd name="connsiteY9" fmla="*/ 692234 h 775642"/>
                <a:gd name="connsiteX10" fmla="*/ 157235 w 1083774"/>
                <a:gd name="connsiteY10" fmla="*/ 775111 h 775642"/>
                <a:gd name="connsiteX11" fmla="*/ 236924 w 1083774"/>
                <a:gd name="connsiteY11" fmla="*/ 754923 h 775642"/>
                <a:gd name="connsiteX12" fmla="*/ 1083756 w 1083774"/>
                <a:gd name="connsiteY12" fmla="*/ 344789 h 775642"/>
                <a:gd name="connsiteX13" fmla="*/ 1083756 w 1083774"/>
                <a:gd name="connsiteY13" fmla="*/ 301226 h 775642"/>
                <a:gd name="connsiteX14" fmla="*/ 219924 w 1083774"/>
                <a:gd name="connsiteY14" fmla="*/ 719860 h 77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83774" h="775642">
                  <a:moveTo>
                    <a:pt x="219924" y="719860"/>
                  </a:moveTo>
                  <a:cubicBezTo>
                    <a:pt x="112609" y="771924"/>
                    <a:pt x="65858" y="683734"/>
                    <a:pt x="60545" y="674172"/>
                  </a:cubicBezTo>
                  <a:lnTo>
                    <a:pt x="58420" y="668859"/>
                  </a:lnTo>
                  <a:cubicBezTo>
                    <a:pt x="9544" y="571107"/>
                    <a:pt x="114734" y="519043"/>
                    <a:pt x="118984" y="515856"/>
                  </a:cubicBezTo>
                  <a:lnTo>
                    <a:pt x="1083756" y="48345"/>
                  </a:lnTo>
                  <a:lnTo>
                    <a:pt x="1083756" y="7969"/>
                  </a:lnTo>
                  <a:lnTo>
                    <a:pt x="103046" y="482917"/>
                  </a:lnTo>
                  <a:cubicBezTo>
                    <a:pt x="100921" y="483980"/>
                    <a:pt x="36107" y="516918"/>
                    <a:pt x="14856" y="578544"/>
                  </a:cubicBezTo>
                  <a:cubicBezTo>
                    <a:pt x="3169" y="613608"/>
                    <a:pt x="6356" y="649733"/>
                    <a:pt x="24419" y="686922"/>
                  </a:cubicBezTo>
                  <a:lnTo>
                    <a:pt x="26544" y="692234"/>
                  </a:lnTo>
                  <a:cubicBezTo>
                    <a:pt x="44607" y="726235"/>
                    <a:pt x="88171" y="775111"/>
                    <a:pt x="157235" y="775111"/>
                  </a:cubicBezTo>
                  <a:cubicBezTo>
                    <a:pt x="180610" y="775111"/>
                    <a:pt x="207173" y="768736"/>
                    <a:pt x="236924" y="754923"/>
                  </a:cubicBezTo>
                  <a:lnTo>
                    <a:pt x="1083756" y="344789"/>
                  </a:lnTo>
                  <a:lnTo>
                    <a:pt x="1083756" y="301226"/>
                  </a:lnTo>
                  <a:lnTo>
                    <a:pt x="219924" y="71986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1FB04931-77A8-4259-95CA-DA7DEDB2DEFD}"/>
                </a:ext>
              </a:extLst>
            </p:cNvPr>
            <p:cNvSpPr/>
            <p:nvPr/>
          </p:nvSpPr>
          <p:spPr>
            <a:xfrm>
              <a:off x="9994666" y="301226"/>
              <a:ext cx="2199425" cy="1636287"/>
            </a:xfrm>
            <a:custGeom>
              <a:avLst/>
              <a:gdLst>
                <a:gd name="connsiteX0" fmla="*/ 538733 w 2199425"/>
                <a:gd name="connsiteY0" fmla="*/ 1550754 h 1636287"/>
                <a:gd name="connsiteX1" fmla="*/ 86098 w 2199425"/>
                <a:gd name="connsiteY1" fmla="*/ 1428564 h 1636287"/>
                <a:gd name="connsiteX2" fmla="*/ 80785 w 2199425"/>
                <a:gd name="connsiteY2" fmla="*/ 1416876 h 1636287"/>
                <a:gd name="connsiteX3" fmla="*/ 115848 w 2199425"/>
                <a:gd name="connsiteY3" fmla="*/ 1102369 h 1636287"/>
                <a:gd name="connsiteX4" fmla="*/ 257164 w 2199425"/>
                <a:gd name="connsiteY4" fmla="*/ 988679 h 1636287"/>
                <a:gd name="connsiteX5" fmla="*/ 2193084 w 2199425"/>
                <a:gd name="connsiteY5" fmla="*/ 49407 h 1636287"/>
                <a:gd name="connsiteX6" fmla="*/ 2193084 w 2199425"/>
                <a:gd name="connsiteY6" fmla="*/ 7969 h 1636287"/>
                <a:gd name="connsiteX7" fmla="*/ 241226 w 2199425"/>
                <a:gd name="connsiteY7" fmla="*/ 954678 h 1636287"/>
                <a:gd name="connsiteX8" fmla="*/ 23409 w 2199425"/>
                <a:gd name="connsiteY8" fmla="*/ 1187371 h 1636287"/>
                <a:gd name="connsiteX9" fmla="*/ 47847 w 2199425"/>
                <a:gd name="connsiteY9" fmla="*/ 1433876 h 1636287"/>
                <a:gd name="connsiteX10" fmla="*/ 53160 w 2199425"/>
                <a:gd name="connsiteY10" fmla="*/ 1445564 h 1636287"/>
                <a:gd name="connsiteX11" fmla="*/ 358104 w 2199425"/>
                <a:gd name="connsiteY11" fmla="*/ 1635756 h 1636287"/>
                <a:gd name="connsiteX12" fmla="*/ 555734 w 2199425"/>
                <a:gd name="connsiteY12" fmla="*/ 1585817 h 1636287"/>
                <a:gd name="connsiteX13" fmla="*/ 2193084 w 2199425"/>
                <a:gd name="connsiteY13" fmla="*/ 789987 h 1636287"/>
                <a:gd name="connsiteX14" fmla="*/ 2193084 w 2199425"/>
                <a:gd name="connsiteY14" fmla="*/ 748548 h 1636287"/>
                <a:gd name="connsiteX15" fmla="*/ 538733 w 2199425"/>
                <a:gd name="connsiteY15" fmla="*/ 1550754 h 163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9425" h="1636287">
                  <a:moveTo>
                    <a:pt x="538733" y="1550754"/>
                  </a:moveTo>
                  <a:cubicBezTo>
                    <a:pt x="228476" y="1701633"/>
                    <a:pt x="90348" y="1439189"/>
                    <a:pt x="86098" y="1428564"/>
                  </a:cubicBezTo>
                  <a:lnTo>
                    <a:pt x="80785" y="1416876"/>
                  </a:lnTo>
                  <a:cubicBezTo>
                    <a:pt x="24471" y="1303186"/>
                    <a:pt x="35097" y="1196934"/>
                    <a:pt x="115848" y="1102369"/>
                  </a:cubicBezTo>
                  <a:cubicBezTo>
                    <a:pt x="176412" y="1030117"/>
                    <a:pt x="256102" y="989741"/>
                    <a:pt x="257164" y="988679"/>
                  </a:cubicBezTo>
                  <a:lnTo>
                    <a:pt x="2193084" y="49407"/>
                  </a:lnTo>
                  <a:lnTo>
                    <a:pt x="2193084" y="7969"/>
                  </a:lnTo>
                  <a:lnTo>
                    <a:pt x="241226" y="954678"/>
                  </a:lnTo>
                  <a:cubicBezTo>
                    <a:pt x="234851" y="958928"/>
                    <a:pt x="74410" y="1037555"/>
                    <a:pt x="23409" y="1187371"/>
                  </a:cubicBezTo>
                  <a:cubicBezTo>
                    <a:pt x="-3154" y="1265998"/>
                    <a:pt x="4283" y="1348875"/>
                    <a:pt x="47847" y="1433876"/>
                  </a:cubicBezTo>
                  <a:lnTo>
                    <a:pt x="53160" y="1445564"/>
                  </a:lnTo>
                  <a:cubicBezTo>
                    <a:pt x="53160" y="1447689"/>
                    <a:pt x="150912" y="1635756"/>
                    <a:pt x="358104" y="1635756"/>
                  </a:cubicBezTo>
                  <a:cubicBezTo>
                    <a:pt x="415480" y="1635756"/>
                    <a:pt x="481357" y="1621943"/>
                    <a:pt x="555734" y="1585817"/>
                  </a:cubicBezTo>
                  <a:lnTo>
                    <a:pt x="2193084" y="789987"/>
                  </a:lnTo>
                  <a:lnTo>
                    <a:pt x="2193084" y="748548"/>
                  </a:lnTo>
                  <a:lnTo>
                    <a:pt x="538733" y="155075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7" name="Title 6">
            <a:extLst>
              <a:ext uri="{FF2B5EF4-FFF2-40B4-BE49-F238E27FC236}">
                <a16:creationId xmlns:a16="http://schemas.microsoft.com/office/drawing/2014/main" id="{5E5109FC-8CB6-4120-99CF-163DDAB90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9050518" cy="9454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Graphic 19">
            <a:extLst>
              <a:ext uri="{FF2B5EF4-FFF2-40B4-BE49-F238E27FC236}">
                <a16:creationId xmlns:a16="http://schemas.microsoft.com/office/drawing/2014/main" id="{9462DA56-F882-470A-8F8C-A55B25FD8A7A}"/>
              </a:ext>
            </a:extLst>
          </p:cNvPr>
          <p:cNvSpPr/>
          <p:nvPr/>
        </p:nvSpPr>
        <p:spPr>
          <a:xfrm>
            <a:off x="838200" y="1492524"/>
            <a:ext cx="6153912" cy="151200"/>
          </a:xfrm>
          <a:custGeom>
            <a:avLst/>
            <a:gdLst>
              <a:gd name="connsiteX0" fmla="*/ 4568666 w 4629150"/>
              <a:gd name="connsiteY0" fmla="*/ 118586 h 123825"/>
              <a:gd name="connsiteX1" fmla="*/ 62389 w 4629150"/>
              <a:gd name="connsiteY1" fmla="*/ 118586 h 123825"/>
              <a:gd name="connsiteX2" fmla="*/ 7144 w 4629150"/>
              <a:gd name="connsiteY2" fmla="*/ 62389 h 123825"/>
              <a:gd name="connsiteX3" fmla="*/ 7144 w 4629150"/>
              <a:gd name="connsiteY3" fmla="*/ 62389 h 123825"/>
              <a:gd name="connsiteX4" fmla="*/ 62389 w 4629150"/>
              <a:gd name="connsiteY4" fmla="*/ 7144 h 123825"/>
              <a:gd name="connsiteX5" fmla="*/ 4568666 w 4629150"/>
              <a:gd name="connsiteY5" fmla="*/ 7144 h 123825"/>
              <a:gd name="connsiteX6" fmla="*/ 4623912 w 4629150"/>
              <a:gd name="connsiteY6" fmla="*/ 62389 h 123825"/>
              <a:gd name="connsiteX7" fmla="*/ 4623912 w 4629150"/>
              <a:gd name="connsiteY7" fmla="*/ 62389 h 123825"/>
              <a:gd name="connsiteX8" fmla="*/ 4568666 w 4629150"/>
              <a:gd name="connsiteY8" fmla="*/ 118586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29150" h="123825">
                <a:moveTo>
                  <a:pt x="4568666" y="118586"/>
                </a:moveTo>
                <a:lnTo>
                  <a:pt x="62389" y="118586"/>
                </a:lnTo>
                <a:cubicBezTo>
                  <a:pt x="31909" y="118586"/>
                  <a:pt x="7144" y="92869"/>
                  <a:pt x="7144" y="62389"/>
                </a:cubicBezTo>
                <a:lnTo>
                  <a:pt x="7144" y="62389"/>
                </a:lnTo>
                <a:cubicBezTo>
                  <a:pt x="7144" y="31909"/>
                  <a:pt x="31909" y="7144"/>
                  <a:pt x="62389" y="7144"/>
                </a:cubicBezTo>
                <a:lnTo>
                  <a:pt x="4568666" y="7144"/>
                </a:lnTo>
                <a:cubicBezTo>
                  <a:pt x="4599147" y="7144"/>
                  <a:pt x="4623912" y="31909"/>
                  <a:pt x="4623912" y="62389"/>
                </a:cubicBezTo>
                <a:lnTo>
                  <a:pt x="4623912" y="62389"/>
                </a:lnTo>
                <a:cubicBezTo>
                  <a:pt x="4623912" y="92869"/>
                  <a:pt x="4599147" y="118586"/>
                  <a:pt x="4568666" y="118586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D5AE8A8-E027-4529-A5B7-4D355C71E64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885380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FB3E4803-F2CA-4138-9997-6108BFDFE7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8110" y="1825624"/>
            <a:ext cx="5181600" cy="3929249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08519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8E328517-DD21-40E0-B948-B25B366BDEC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775856" y="532519"/>
            <a:ext cx="6416144" cy="4534825"/>
          </a:xfrm>
          <a:custGeom>
            <a:avLst/>
            <a:gdLst>
              <a:gd name="connsiteX0" fmla="*/ 2868981 w 6416144"/>
              <a:gd name="connsiteY0" fmla="*/ 4534824 h 4534825"/>
              <a:gd name="connsiteX1" fmla="*/ 6408833 w 6416144"/>
              <a:gd name="connsiteY1" fmla="*/ 4534824 h 4534825"/>
              <a:gd name="connsiteX2" fmla="*/ 6408833 w 6416144"/>
              <a:gd name="connsiteY2" fmla="*/ 4534825 h 4534825"/>
              <a:gd name="connsiteX3" fmla="*/ 2868981 w 6416144"/>
              <a:gd name="connsiteY3" fmla="*/ 4534825 h 4534825"/>
              <a:gd name="connsiteX4" fmla="*/ 4642500 w 6416144"/>
              <a:gd name="connsiteY4" fmla="*/ 3896784 h 4534825"/>
              <a:gd name="connsiteX5" fmla="*/ 4642501 w 6416144"/>
              <a:gd name="connsiteY5" fmla="*/ 3896784 h 4534825"/>
              <a:gd name="connsiteX6" fmla="*/ 4642605 w 6416144"/>
              <a:gd name="connsiteY6" fmla="*/ 3899015 h 4534825"/>
              <a:gd name="connsiteX7" fmla="*/ 4905429 w 6416144"/>
              <a:gd name="connsiteY7" fmla="*/ 4145635 h 4534825"/>
              <a:gd name="connsiteX8" fmla="*/ 4905428 w 6416144"/>
              <a:gd name="connsiteY8" fmla="*/ 4145635 h 4534825"/>
              <a:gd name="connsiteX9" fmla="*/ 4642604 w 6416144"/>
              <a:gd name="connsiteY9" fmla="*/ 3899015 h 4534825"/>
              <a:gd name="connsiteX10" fmla="*/ 6416144 w 6416144"/>
              <a:gd name="connsiteY10" fmla="*/ 0 h 4534825"/>
              <a:gd name="connsiteX11" fmla="*/ 6416144 w 6416144"/>
              <a:gd name="connsiteY11" fmla="*/ 233966 h 4534825"/>
              <a:gd name="connsiteX12" fmla="*/ 5581177 w 6416144"/>
              <a:gd name="connsiteY12" fmla="*/ 233966 h 4534825"/>
              <a:gd name="connsiteX13" fmla="*/ 5317839 w 6416144"/>
              <a:gd name="connsiteY13" fmla="*/ 428980 h 4534825"/>
              <a:gd name="connsiteX14" fmla="*/ 5317839 w 6416144"/>
              <a:gd name="connsiteY14" fmla="*/ 436628 h 4534825"/>
              <a:gd name="connsiteX15" fmla="*/ 5581177 w 6416144"/>
              <a:gd name="connsiteY15" fmla="*/ 631642 h 4534825"/>
              <a:gd name="connsiteX16" fmla="*/ 6416144 w 6416144"/>
              <a:gd name="connsiteY16" fmla="*/ 631642 h 4534825"/>
              <a:gd name="connsiteX17" fmla="*/ 6416144 w 6416144"/>
              <a:gd name="connsiteY17" fmla="*/ 4534824 h 4534825"/>
              <a:gd name="connsiteX18" fmla="*/ 6408833 w 6416144"/>
              <a:gd name="connsiteY18" fmla="*/ 4534824 h 4534825"/>
              <a:gd name="connsiteX19" fmla="*/ 6408833 w 6416144"/>
              <a:gd name="connsiteY19" fmla="*/ 4145635 h 4534825"/>
              <a:gd name="connsiteX20" fmla="*/ 6412028 w 6416144"/>
              <a:gd name="connsiteY20" fmla="*/ 4145635 h 4534825"/>
              <a:gd name="connsiteX21" fmla="*/ 6412028 w 6416144"/>
              <a:gd name="connsiteY21" fmla="*/ 3620144 h 4534825"/>
              <a:gd name="connsiteX22" fmla="*/ 4905428 w 6416144"/>
              <a:gd name="connsiteY22" fmla="*/ 3620144 h 4534825"/>
              <a:gd name="connsiteX23" fmla="*/ 4642090 w 6416144"/>
              <a:gd name="connsiteY23" fmla="*/ 3877837 h 4534825"/>
              <a:gd name="connsiteX24" fmla="*/ 4642090 w 6416144"/>
              <a:gd name="connsiteY24" fmla="*/ 3887942 h 4534825"/>
              <a:gd name="connsiteX25" fmla="*/ 4642500 w 6416144"/>
              <a:gd name="connsiteY25" fmla="*/ 3896784 h 4534825"/>
              <a:gd name="connsiteX26" fmla="*/ 3281687 w 6416144"/>
              <a:gd name="connsiteY26" fmla="*/ 3896784 h 4534825"/>
              <a:gd name="connsiteX27" fmla="*/ 2832240 w 6416144"/>
              <a:gd name="connsiteY27" fmla="*/ 4343957 h 4534825"/>
              <a:gd name="connsiteX28" fmla="*/ 2832240 w 6416144"/>
              <a:gd name="connsiteY28" fmla="*/ 4360378 h 4534825"/>
              <a:gd name="connsiteX29" fmla="*/ 2855942 w 6416144"/>
              <a:gd name="connsiteY29" fmla="*/ 4501866 h 4534825"/>
              <a:gd name="connsiteX30" fmla="*/ 2868981 w 6416144"/>
              <a:gd name="connsiteY30" fmla="*/ 4534824 h 4534825"/>
              <a:gd name="connsiteX31" fmla="*/ 1415799 w 6416144"/>
              <a:gd name="connsiteY31" fmla="*/ 4534824 h 4534825"/>
              <a:gd name="connsiteX32" fmla="*/ 1316204 w 6416144"/>
              <a:gd name="connsiteY32" fmla="*/ 4515398 h 4534825"/>
              <a:gd name="connsiteX33" fmla="*/ 1033 w 6416144"/>
              <a:gd name="connsiteY33" fmla="*/ 2292638 h 4534825"/>
              <a:gd name="connsiteX34" fmla="*/ 1594209 w 6416144"/>
              <a:gd name="connsiteY34" fmla="*/ 23854 h 4534825"/>
              <a:gd name="connsiteX35" fmla="*/ 1554064 w 6416144"/>
              <a:gd name="connsiteY35" fmla="*/ 11750 h 453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6416144" h="4534825">
                <a:moveTo>
                  <a:pt x="2868981" y="4534824"/>
                </a:moveTo>
                <a:lnTo>
                  <a:pt x="6408833" y="4534824"/>
                </a:lnTo>
                <a:lnTo>
                  <a:pt x="6408833" y="4534825"/>
                </a:lnTo>
                <a:lnTo>
                  <a:pt x="2868981" y="4534825"/>
                </a:lnTo>
                <a:close/>
                <a:moveTo>
                  <a:pt x="4642500" y="3896784"/>
                </a:moveTo>
                <a:lnTo>
                  <a:pt x="4642501" y="3896784"/>
                </a:lnTo>
                <a:lnTo>
                  <a:pt x="4642605" y="3899015"/>
                </a:lnTo>
                <a:cubicBezTo>
                  <a:pt x="4646206" y="3948339"/>
                  <a:pt x="4675008" y="4145635"/>
                  <a:pt x="4905429" y="4145635"/>
                </a:cubicBezTo>
                <a:lnTo>
                  <a:pt x="4905428" y="4145635"/>
                </a:lnTo>
                <a:cubicBezTo>
                  <a:pt x="4675007" y="4145635"/>
                  <a:pt x="4646205" y="3948339"/>
                  <a:pt x="4642604" y="3899015"/>
                </a:cubicBezTo>
                <a:close/>
                <a:moveTo>
                  <a:pt x="6416144" y="0"/>
                </a:moveTo>
                <a:lnTo>
                  <a:pt x="6416144" y="233966"/>
                </a:lnTo>
                <a:lnTo>
                  <a:pt x="5581177" y="233966"/>
                </a:lnTo>
                <a:cubicBezTo>
                  <a:pt x="5581177" y="233966"/>
                  <a:pt x="5317839" y="233966"/>
                  <a:pt x="5317839" y="428980"/>
                </a:cubicBezTo>
                <a:lnTo>
                  <a:pt x="5317839" y="436628"/>
                </a:lnTo>
                <a:cubicBezTo>
                  <a:pt x="5317839" y="436628"/>
                  <a:pt x="5317839" y="631642"/>
                  <a:pt x="5581177" y="631642"/>
                </a:cubicBezTo>
                <a:lnTo>
                  <a:pt x="6416144" y="631642"/>
                </a:lnTo>
                <a:lnTo>
                  <a:pt x="6416144" y="4534824"/>
                </a:lnTo>
                <a:lnTo>
                  <a:pt x="6408833" y="4534824"/>
                </a:lnTo>
                <a:lnTo>
                  <a:pt x="6408833" y="4145635"/>
                </a:lnTo>
                <a:lnTo>
                  <a:pt x="6412028" y="4145635"/>
                </a:lnTo>
                <a:lnTo>
                  <a:pt x="6412028" y="3620144"/>
                </a:lnTo>
                <a:lnTo>
                  <a:pt x="4905428" y="3620144"/>
                </a:lnTo>
                <a:cubicBezTo>
                  <a:pt x="4905428" y="3620144"/>
                  <a:pt x="4642090" y="3620144"/>
                  <a:pt x="4642090" y="3877837"/>
                </a:cubicBezTo>
                <a:lnTo>
                  <a:pt x="4642090" y="3887942"/>
                </a:lnTo>
                <a:lnTo>
                  <a:pt x="4642500" y="3896784"/>
                </a:lnTo>
                <a:lnTo>
                  <a:pt x="3281687" y="3896784"/>
                </a:lnTo>
                <a:cubicBezTo>
                  <a:pt x="3281687" y="3896784"/>
                  <a:pt x="2832240" y="3896784"/>
                  <a:pt x="2832240" y="4343957"/>
                </a:cubicBezTo>
                <a:lnTo>
                  <a:pt x="2832240" y="4360378"/>
                </a:lnTo>
                <a:cubicBezTo>
                  <a:pt x="2832240" y="4360378"/>
                  <a:pt x="2832240" y="4423262"/>
                  <a:pt x="2855942" y="4501866"/>
                </a:cubicBezTo>
                <a:lnTo>
                  <a:pt x="2868981" y="4534824"/>
                </a:lnTo>
                <a:lnTo>
                  <a:pt x="1415799" y="4534824"/>
                </a:lnTo>
                <a:lnTo>
                  <a:pt x="1316204" y="4515398"/>
                </a:lnTo>
                <a:cubicBezTo>
                  <a:pt x="682558" y="4348152"/>
                  <a:pt x="32583" y="3566545"/>
                  <a:pt x="1033" y="2292638"/>
                </a:cubicBezTo>
                <a:cubicBezTo>
                  <a:pt x="-35023" y="836743"/>
                  <a:pt x="880886" y="23854"/>
                  <a:pt x="1594209" y="23854"/>
                </a:cubicBezTo>
                <a:cubicBezTo>
                  <a:pt x="1590120" y="19819"/>
                  <a:pt x="1558153" y="15785"/>
                  <a:pt x="1554064" y="1175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7BC6DBB9-1B34-4374-A887-DC30F9E2F62F}"/>
              </a:ext>
            </a:extLst>
          </p:cNvPr>
          <p:cNvSpPr/>
          <p:nvPr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Graphic 12">
            <a:extLst>
              <a:ext uri="{FF2B5EF4-FFF2-40B4-BE49-F238E27FC236}">
                <a16:creationId xmlns:a16="http://schemas.microsoft.com/office/drawing/2014/main" id="{00DE0AE3-F44D-4F2C-B7A3-C253AA498DEF}"/>
              </a:ext>
            </a:extLst>
          </p:cNvPr>
          <p:cNvSpPr/>
          <p:nvPr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6F89F8-3E24-406D-9C49-00E6E47E4A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205F7-811A-4606-AC7E-593528945A21}" type="datetimeFigureOut">
              <a:rPr lang="en-GB" smtClean="0"/>
              <a:t>11/1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92DBDA-ED00-4248-AC6D-0CE0B821B5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3908793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2B5F97-2F18-4EF2-9CBC-AAAB9FF4C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757CD-3B46-4C63-B887-90DD93699826}" type="slidenum">
              <a:rPr lang="en-GB" smtClean="0"/>
              <a:t>‹#›</a:t>
            </a:fld>
            <a:endParaRPr lang="en-GB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C6C05708-08C7-4EF1-B0D8-6A01C1B1AD85}"/>
              </a:ext>
            </a:extLst>
          </p:cNvPr>
          <p:cNvSpPr/>
          <p:nvPr/>
        </p:nvSpPr>
        <p:spPr>
          <a:xfrm>
            <a:off x="10413777" y="4433244"/>
            <a:ext cx="1782599" cy="30316"/>
          </a:xfrm>
          <a:custGeom>
            <a:avLst/>
            <a:gdLst>
              <a:gd name="connsiteX0" fmla="*/ 0 w 1782599"/>
              <a:gd name="connsiteY0" fmla="*/ 0 h 30316"/>
              <a:gd name="connsiteX1" fmla="*/ 1782599 w 1782599"/>
              <a:gd name="connsiteY1" fmla="*/ 0 h 30316"/>
              <a:gd name="connsiteX2" fmla="*/ 1782599 w 1782599"/>
              <a:gd name="connsiteY2" fmla="*/ 30316 h 30316"/>
              <a:gd name="connsiteX3" fmla="*/ 2488 w 1782599"/>
              <a:gd name="connsiteY3" fmla="*/ 30316 h 30316"/>
              <a:gd name="connsiteX4" fmla="*/ 643 w 1782599"/>
              <a:gd name="connsiteY4" fmla="*/ 16129 h 30316"/>
              <a:gd name="connsiteX5" fmla="*/ 0 w 1782599"/>
              <a:gd name="connsiteY5" fmla="*/ 3788 h 30316"/>
              <a:gd name="connsiteX6" fmla="*/ 0 w 1782599"/>
              <a:gd name="connsiteY6" fmla="*/ 0 h 30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82599" h="30316">
                <a:moveTo>
                  <a:pt x="0" y="0"/>
                </a:moveTo>
                <a:lnTo>
                  <a:pt x="1782599" y="0"/>
                </a:lnTo>
                <a:lnTo>
                  <a:pt x="1782599" y="30316"/>
                </a:lnTo>
                <a:lnTo>
                  <a:pt x="2488" y="30316"/>
                </a:lnTo>
                <a:lnTo>
                  <a:pt x="643" y="16129"/>
                </a:lnTo>
                <a:cubicBezTo>
                  <a:pt x="40" y="8565"/>
                  <a:pt x="0" y="4104"/>
                  <a:pt x="0" y="378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3" name="Graphic 33">
            <a:extLst>
              <a:ext uri="{FF2B5EF4-FFF2-40B4-BE49-F238E27FC236}">
                <a16:creationId xmlns:a16="http://schemas.microsoft.com/office/drawing/2014/main" id="{38956B41-4EE0-4C7C-8436-027F5DE8B1BC}"/>
              </a:ext>
            </a:extLst>
          </p:cNvPr>
          <p:cNvSpPr/>
          <p:nvPr/>
        </p:nvSpPr>
        <p:spPr>
          <a:xfrm>
            <a:off x="887582" y="2045662"/>
            <a:ext cx="3785313" cy="165305"/>
          </a:xfrm>
          <a:custGeom>
            <a:avLst/>
            <a:gdLst>
              <a:gd name="connsiteX0" fmla="*/ 3700149 w 3785313"/>
              <a:gd name="connsiteY0" fmla="*/ 162194 h 165304"/>
              <a:gd name="connsiteX1" fmla="*/ 92020 w 3785313"/>
              <a:gd name="connsiteY1" fmla="*/ 162194 h 165304"/>
              <a:gd name="connsiteX2" fmla="*/ 14166 w 3785313"/>
              <a:gd name="connsiteY2" fmla="*/ 87171 h 165304"/>
              <a:gd name="connsiteX3" fmla="*/ 14166 w 3785313"/>
              <a:gd name="connsiteY3" fmla="*/ 87171 h 165304"/>
              <a:gd name="connsiteX4" fmla="*/ 92020 w 3785313"/>
              <a:gd name="connsiteY4" fmla="*/ 13420 h 165304"/>
              <a:gd name="connsiteX5" fmla="*/ 3698806 w 3785313"/>
              <a:gd name="connsiteY5" fmla="*/ 13420 h 165304"/>
              <a:gd name="connsiteX6" fmla="*/ 3776660 w 3785313"/>
              <a:gd name="connsiteY6" fmla="*/ 87171 h 165304"/>
              <a:gd name="connsiteX7" fmla="*/ 3776660 w 3785313"/>
              <a:gd name="connsiteY7" fmla="*/ 87171 h 165304"/>
              <a:gd name="connsiteX8" fmla="*/ 3700149 w 3785313"/>
              <a:gd name="connsiteY8" fmla="*/ 162194 h 165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85313" h="165304">
                <a:moveTo>
                  <a:pt x="3700149" y="162194"/>
                </a:moveTo>
                <a:lnTo>
                  <a:pt x="92020" y="162194"/>
                </a:lnTo>
                <a:cubicBezTo>
                  <a:pt x="49066" y="162194"/>
                  <a:pt x="14166" y="127861"/>
                  <a:pt x="14166" y="87171"/>
                </a:cubicBezTo>
                <a:lnTo>
                  <a:pt x="14166" y="87171"/>
                </a:lnTo>
                <a:cubicBezTo>
                  <a:pt x="14166" y="46481"/>
                  <a:pt x="49066" y="13420"/>
                  <a:pt x="92020" y="13420"/>
                </a:cubicBezTo>
                <a:lnTo>
                  <a:pt x="3698806" y="13420"/>
                </a:lnTo>
                <a:cubicBezTo>
                  <a:pt x="3741760" y="13420"/>
                  <a:pt x="3776660" y="46481"/>
                  <a:pt x="3776660" y="87171"/>
                </a:cubicBezTo>
                <a:lnTo>
                  <a:pt x="3776660" y="87171"/>
                </a:lnTo>
                <a:cubicBezTo>
                  <a:pt x="3778002" y="127861"/>
                  <a:pt x="3743102" y="162194"/>
                  <a:pt x="3700149" y="162194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1340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E08687FC-7322-4F20-9769-1ECF4296A96E}"/>
              </a:ext>
            </a:extLst>
          </p:cNvPr>
          <p:cNvSpPr/>
          <p:nvPr/>
        </p:nvSpPr>
        <p:spPr>
          <a:xfrm>
            <a:off x="10416941" y="4161024"/>
            <a:ext cx="1785131" cy="543175"/>
          </a:xfrm>
          <a:custGeom>
            <a:avLst/>
            <a:gdLst>
              <a:gd name="connsiteX0" fmla="*/ 1338739 w 1343025"/>
              <a:gd name="connsiteY0" fmla="*/ 7144 h 409575"/>
              <a:gd name="connsiteX1" fmla="*/ 205264 w 1343025"/>
              <a:gd name="connsiteY1" fmla="*/ 7144 h 409575"/>
              <a:gd name="connsiteX2" fmla="*/ 7144 w 1343025"/>
              <a:gd name="connsiteY2" fmla="*/ 201454 h 409575"/>
              <a:gd name="connsiteX3" fmla="*/ 7144 w 1343025"/>
              <a:gd name="connsiteY3" fmla="*/ 209074 h 409575"/>
              <a:gd name="connsiteX4" fmla="*/ 205264 w 1343025"/>
              <a:gd name="connsiteY4" fmla="*/ 403384 h 409575"/>
              <a:gd name="connsiteX5" fmla="*/ 1338739 w 1343025"/>
              <a:gd name="connsiteY5" fmla="*/ 403384 h 409575"/>
              <a:gd name="connsiteX6" fmla="*/ 1338739 w 1343025"/>
              <a:gd name="connsiteY6" fmla="*/ 7144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43025" h="409575">
                <a:moveTo>
                  <a:pt x="1338739" y="7144"/>
                </a:moveTo>
                <a:lnTo>
                  <a:pt x="205264" y="7144"/>
                </a:lnTo>
                <a:cubicBezTo>
                  <a:pt x="205264" y="7144"/>
                  <a:pt x="7144" y="7144"/>
                  <a:pt x="7144" y="201454"/>
                </a:cubicBezTo>
                <a:lnTo>
                  <a:pt x="7144" y="209074"/>
                </a:lnTo>
                <a:cubicBezTo>
                  <a:pt x="7144" y="209074"/>
                  <a:pt x="7144" y="403384"/>
                  <a:pt x="205264" y="403384"/>
                </a:cubicBezTo>
                <a:lnTo>
                  <a:pt x="1338739" y="403384"/>
                </a:lnTo>
                <a:lnTo>
                  <a:pt x="1338739" y="7144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0FCCDE26-7222-4C1B-884A-0FAE84FA57DB}"/>
              </a:ext>
            </a:extLst>
          </p:cNvPr>
          <p:cNvSpPr/>
          <p:nvPr/>
        </p:nvSpPr>
        <p:spPr>
          <a:xfrm>
            <a:off x="8607090" y="4437664"/>
            <a:ext cx="3595584" cy="922135"/>
          </a:xfrm>
          <a:custGeom>
            <a:avLst/>
            <a:gdLst>
              <a:gd name="connsiteX0" fmla="*/ 2697957 w 2705100"/>
              <a:gd name="connsiteY0" fmla="*/ 7144 h 695325"/>
              <a:gd name="connsiteX1" fmla="*/ 345281 w 2705100"/>
              <a:gd name="connsiteY1" fmla="*/ 7144 h 695325"/>
              <a:gd name="connsiteX2" fmla="*/ 7144 w 2705100"/>
              <a:gd name="connsiteY2" fmla="*/ 344329 h 695325"/>
              <a:gd name="connsiteX3" fmla="*/ 7144 w 2705100"/>
              <a:gd name="connsiteY3" fmla="*/ 356711 h 695325"/>
              <a:gd name="connsiteX4" fmla="*/ 345281 w 2705100"/>
              <a:gd name="connsiteY4" fmla="*/ 693896 h 695325"/>
              <a:gd name="connsiteX5" fmla="*/ 2697957 w 2705100"/>
              <a:gd name="connsiteY5" fmla="*/ 693896 h 695325"/>
              <a:gd name="connsiteX6" fmla="*/ 2697957 w 2705100"/>
              <a:gd name="connsiteY6" fmla="*/ 7144 h 695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05100" h="695325">
                <a:moveTo>
                  <a:pt x="2697957" y="7144"/>
                </a:moveTo>
                <a:lnTo>
                  <a:pt x="345281" y="7144"/>
                </a:lnTo>
                <a:cubicBezTo>
                  <a:pt x="345281" y="7144"/>
                  <a:pt x="7144" y="7144"/>
                  <a:pt x="7144" y="344329"/>
                </a:cubicBezTo>
                <a:lnTo>
                  <a:pt x="7144" y="356711"/>
                </a:lnTo>
                <a:cubicBezTo>
                  <a:pt x="7144" y="356711"/>
                  <a:pt x="7144" y="693896"/>
                  <a:pt x="345281" y="693896"/>
                </a:cubicBezTo>
                <a:lnTo>
                  <a:pt x="2697957" y="693896"/>
                </a:lnTo>
                <a:lnTo>
                  <a:pt x="2697957" y="7144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AC78A4D-01A3-43A6-BE82-E64E2BF16D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44272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E6544955-4597-4E52-9C7E-8AEB5D2A49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356700"/>
            <a:ext cx="3932237" cy="351228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95746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Oval 34">
            <a:extLst>
              <a:ext uri="{FF2B5EF4-FFF2-40B4-BE49-F238E27FC236}">
                <a16:creationId xmlns:a16="http://schemas.microsoft.com/office/drawing/2014/main" id="{7BC6DBB9-1B34-4374-A887-DC30F9E2F62F}"/>
              </a:ext>
            </a:extLst>
          </p:cNvPr>
          <p:cNvSpPr/>
          <p:nvPr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Graphic 12">
            <a:extLst>
              <a:ext uri="{FF2B5EF4-FFF2-40B4-BE49-F238E27FC236}">
                <a16:creationId xmlns:a16="http://schemas.microsoft.com/office/drawing/2014/main" id="{00DE0AE3-F44D-4F2C-B7A3-C253AA498DEF}"/>
              </a:ext>
            </a:extLst>
          </p:cNvPr>
          <p:cNvSpPr/>
          <p:nvPr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6F89F8-3E24-406D-9C49-00E6E47E4A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205F7-811A-4606-AC7E-593528945A21}" type="datetimeFigureOut">
              <a:rPr lang="en-GB" smtClean="0"/>
              <a:t>11/1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92DBDA-ED00-4248-AC6D-0CE0B821B5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3908793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2B5F97-2F18-4EF2-9CBC-AAAB9FF4C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757CD-3B46-4C63-B887-90DD93699826}" type="slidenum">
              <a:rPr lang="en-GB" smtClean="0"/>
              <a:t>‹#›</a:t>
            </a:fld>
            <a:endParaRPr lang="en-GB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C6C05708-08C7-4EF1-B0D8-6A01C1B1AD85}"/>
              </a:ext>
            </a:extLst>
          </p:cNvPr>
          <p:cNvSpPr/>
          <p:nvPr/>
        </p:nvSpPr>
        <p:spPr>
          <a:xfrm>
            <a:off x="10413777" y="4433244"/>
            <a:ext cx="1782599" cy="30316"/>
          </a:xfrm>
          <a:custGeom>
            <a:avLst/>
            <a:gdLst>
              <a:gd name="connsiteX0" fmla="*/ 0 w 1782599"/>
              <a:gd name="connsiteY0" fmla="*/ 0 h 30316"/>
              <a:gd name="connsiteX1" fmla="*/ 1782599 w 1782599"/>
              <a:gd name="connsiteY1" fmla="*/ 0 h 30316"/>
              <a:gd name="connsiteX2" fmla="*/ 1782599 w 1782599"/>
              <a:gd name="connsiteY2" fmla="*/ 30316 h 30316"/>
              <a:gd name="connsiteX3" fmla="*/ 2488 w 1782599"/>
              <a:gd name="connsiteY3" fmla="*/ 30316 h 30316"/>
              <a:gd name="connsiteX4" fmla="*/ 643 w 1782599"/>
              <a:gd name="connsiteY4" fmla="*/ 16129 h 30316"/>
              <a:gd name="connsiteX5" fmla="*/ 0 w 1782599"/>
              <a:gd name="connsiteY5" fmla="*/ 3788 h 30316"/>
              <a:gd name="connsiteX6" fmla="*/ 0 w 1782599"/>
              <a:gd name="connsiteY6" fmla="*/ 0 h 30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82599" h="30316">
                <a:moveTo>
                  <a:pt x="0" y="0"/>
                </a:moveTo>
                <a:lnTo>
                  <a:pt x="1782599" y="0"/>
                </a:lnTo>
                <a:lnTo>
                  <a:pt x="1782599" y="30316"/>
                </a:lnTo>
                <a:lnTo>
                  <a:pt x="2488" y="30316"/>
                </a:lnTo>
                <a:lnTo>
                  <a:pt x="643" y="16129"/>
                </a:lnTo>
                <a:cubicBezTo>
                  <a:pt x="40" y="8565"/>
                  <a:pt x="0" y="4104"/>
                  <a:pt x="0" y="378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3" name="Graphic 33">
            <a:extLst>
              <a:ext uri="{FF2B5EF4-FFF2-40B4-BE49-F238E27FC236}">
                <a16:creationId xmlns:a16="http://schemas.microsoft.com/office/drawing/2014/main" id="{38956B41-4EE0-4C7C-8436-027F5DE8B1BC}"/>
              </a:ext>
            </a:extLst>
          </p:cNvPr>
          <p:cNvSpPr/>
          <p:nvPr/>
        </p:nvSpPr>
        <p:spPr>
          <a:xfrm>
            <a:off x="887582" y="2045662"/>
            <a:ext cx="3785313" cy="165305"/>
          </a:xfrm>
          <a:custGeom>
            <a:avLst/>
            <a:gdLst>
              <a:gd name="connsiteX0" fmla="*/ 3700149 w 3785313"/>
              <a:gd name="connsiteY0" fmla="*/ 162194 h 165304"/>
              <a:gd name="connsiteX1" fmla="*/ 92020 w 3785313"/>
              <a:gd name="connsiteY1" fmla="*/ 162194 h 165304"/>
              <a:gd name="connsiteX2" fmla="*/ 14166 w 3785313"/>
              <a:gd name="connsiteY2" fmla="*/ 87171 h 165304"/>
              <a:gd name="connsiteX3" fmla="*/ 14166 w 3785313"/>
              <a:gd name="connsiteY3" fmla="*/ 87171 h 165304"/>
              <a:gd name="connsiteX4" fmla="*/ 92020 w 3785313"/>
              <a:gd name="connsiteY4" fmla="*/ 13420 h 165304"/>
              <a:gd name="connsiteX5" fmla="*/ 3698806 w 3785313"/>
              <a:gd name="connsiteY5" fmla="*/ 13420 h 165304"/>
              <a:gd name="connsiteX6" fmla="*/ 3776660 w 3785313"/>
              <a:gd name="connsiteY6" fmla="*/ 87171 h 165304"/>
              <a:gd name="connsiteX7" fmla="*/ 3776660 w 3785313"/>
              <a:gd name="connsiteY7" fmla="*/ 87171 h 165304"/>
              <a:gd name="connsiteX8" fmla="*/ 3700149 w 3785313"/>
              <a:gd name="connsiteY8" fmla="*/ 162194 h 165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85313" h="165304">
                <a:moveTo>
                  <a:pt x="3700149" y="162194"/>
                </a:moveTo>
                <a:lnTo>
                  <a:pt x="92020" y="162194"/>
                </a:lnTo>
                <a:cubicBezTo>
                  <a:pt x="49066" y="162194"/>
                  <a:pt x="14166" y="127861"/>
                  <a:pt x="14166" y="87171"/>
                </a:cubicBezTo>
                <a:lnTo>
                  <a:pt x="14166" y="87171"/>
                </a:lnTo>
                <a:cubicBezTo>
                  <a:pt x="14166" y="46481"/>
                  <a:pt x="49066" y="13420"/>
                  <a:pt x="92020" y="13420"/>
                </a:cubicBezTo>
                <a:lnTo>
                  <a:pt x="3698806" y="13420"/>
                </a:lnTo>
                <a:cubicBezTo>
                  <a:pt x="3741760" y="13420"/>
                  <a:pt x="3776660" y="46481"/>
                  <a:pt x="3776660" y="87171"/>
                </a:cubicBezTo>
                <a:lnTo>
                  <a:pt x="3776660" y="87171"/>
                </a:lnTo>
                <a:cubicBezTo>
                  <a:pt x="3778002" y="127861"/>
                  <a:pt x="3743102" y="162194"/>
                  <a:pt x="3700149" y="162194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1340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E08687FC-7322-4F20-9769-1ECF4296A96E}"/>
              </a:ext>
            </a:extLst>
          </p:cNvPr>
          <p:cNvSpPr/>
          <p:nvPr/>
        </p:nvSpPr>
        <p:spPr>
          <a:xfrm>
            <a:off x="10416941" y="4161024"/>
            <a:ext cx="1785131" cy="543175"/>
          </a:xfrm>
          <a:custGeom>
            <a:avLst/>
            <a:gdLst>
              <a:gd name="connsiteX0" fmla="*/ 1338739 w 1343025"/>
              <a:gd name="connsiteY0" fmla="*/ 7144 h 409575"/>
              <a:gd name="connsiteX1" fmla="*/ 205264 w 1343025"/>
              <a:gd name="connsiteY1" fmla="*/ 7144 h 409575"/>
              <a:gd name="connsiteX2" fmla="*/ 7144 w 1343025"/>
              <a:gd name="connsiteY2" fmla="*/ 201454 h 409575"/>
              <a:gd name="connsiteX3" fmla="*/ 7144 w 1343025"/>
              <a:gd name="connsiteY3" fmla="*/ 209074 h 409575"/>
              <a:gd name="connsiteX4" fmla="*/ 205264 w 1343025"/>
              <a:gd name="connsiteY4" fmla="*/ 403384 h 409575"/>
              <a:gd name="connsiteX5" fmla="*/ 1338739 w 1343025"/>
              <a:gd name="connsiteY5" fmla="*/ 403384 h 409575"/>
              <a:gd name="connsiteX6" fmla="*/ 1338739 w 1343025"/>
              <a:gd name="connsiteY6" fmla="*/ 7144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43025" h="409575">
                <a:moveTo>
                  <a:pt x="1338739" y="7144"/>
                </a:moveTo>
                <a:lnTo>
                  <a:pt x="205264" y="7144"/>
                </a:lnTo>
                <a:cubicBezTo>
                  <a:pt x="205264" y="7144"/>
                  <a:pt x="7144" y="7144"/>
                  <a:pt x="7144" y="201454"/>
                </a:cubicBezTo>
                <a:lnTo>
                  <a:pt x="7144" y="209074"/>
                </a:lnTo>
                <a:cubicBezTo>
                  <a:pt x="7144" y="209074"/>
                  <a:pt x="7144" y="403384"/>
                  <a:pt x="205264" y="403384"/>
                </a:cubicBezTo>
                <a:lnTo>
                  <a:pt x="1338739" y="403384"/>
                </a:lnTo>
                <a:lnTo>
                  <a:pt x="1338739" y="7144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0FCCDE26-7222-4C1B-884A-0FAE84FA57DB}"/>
              </a:ext>
            </a:extLst>
          </p:cNvPr>
          <p:cNvSpPr/>
          <p:nvPr/>
        </p:nvSpPr>
        <p:spPr>
          <a:xfrm>
            <a:off x="8607090" y="4437664"/>
            <a:ext cx="3595584" cy="922135"/>
          </a:xfrm>
          <a:custGeom>
            <a:avLst/>
            <a:gdLst>
              <a:gd name="connsiteX0" fmla="*/ 2697957 w 2705100"/>
              <a:gd name="connsiteY0" fmla="*/ 7144 h 695325"/>
              <a:gd name="connsiteX1" fmla="*/ 345281 w 2705100"/>
              <a:gd name="connsiteY1" fmla="*/ 7144 h 695325"/>
              <a:gd name="connsiteX2" fmla="*/ 7144 w 2705100"/>
              <a:gd name="connsiteY2" fmla="*/ 344329 h 695325"/>
              <a:gd name="connsiteX3" fmla="*/ 7144 w 2705100"/>
              <a:gd name="connsiteY3" fmla="*/ 356711 h 695325"/>
              <a:gd name="connsiteX4" fmla="*/ 345281 w 2705100"/>
              <a:gd name="connsiteY4" fmla="*/ 693896 h 695325"/>
              <a:gd name="connsiteX5" fmla="*/ 2697957 w 2705100"/>
              <a:gd name="connsiteY5" fmla="*/ 693896 h 695325"/>
              <a:gd name="connsiteX6" fmla="*/ 2697957 w 2705100"/>
              <a:gd name="connsiteY6" fmla="*/ 7144 h 695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05100" h="695325">
                <a:moveTo>
                  <a:pt x="2697957" y="7144"/>
                </a:moveTo>
                <a:lnTo>
                  <a:pt x="345281" y="7144"/>
                </a:lnTo>
                <a:cubicBezTo>
                  <a:pt x="345281" y="7144"/>
                  <a:pt x="7144" y="7144"/>
                  <a:pt x="7144" y="344329"/>
                </a:cubicBezTo>
                <a:lnTo>
                  <a:pt x="7144" y="356711"/>
                </a:lnTo>
                <a:cubicBezTo>
                  <a:pt x="7144" y="356711"/>
                  <a:pt x="7144" y="693896"/>
                  <a:pt x="345281" y="693896"/>
                </a:cubicBezTo>
                <a:lnTo>
                  <a:pt x="2697957" y="693896"/>
                </a:lnTo>
                <a:lnTo>
                  <a:pt x="2697957" y="7144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AC78A4D-01A3-43A6-BE82-E64E2BF16D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44272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E6544955-4597-4E52-9C7E-8AEB5D2A49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356700"/>
            <a:ext cx="3932237" cy="351228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28A6791-A2CB-40CE-AEF5-A729106DA4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457201"/>
            <a:ext cx="6653212" cy="540385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56421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Oval 47">
            <a:extLst>
              <a:ext uri="{FF2B5EF4-FFF2-40B4-BE49-F238E27FC236}">
                <a16:creationId xmlns:a16="http://schemas.microsoft.com/office/drawing/2014/main" id="{2F290D8B-987A-4555-890C-F3CD026BF7BF}"/>
              </a:ext>
            </a:extLst>
          </p:cNvPr>
          <p:cNvSpPr/>
          <p:nvPr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Graphic 12">
            <a:extLst>
              <a:ext uri="{FF2B5EF4-FFF2-40B4-BE49-F238E27FC236}">
                <a16:creationId xmlns:a16="http://schemas.microsoft.com/office/drawing/2014/main" id="{6139C5E6-5A04-4458-8EF9-628BFBA73A92}"/>
              </a:ext>
            </a:extLst>
          </p:cNvPr>
          <p:cNvSpPr/>
          <p:nvPr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2A0631-3130-4C36-8E5E-80464B1A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205F7-811A-4606-AC7E-593528945A21}" type="datetimeFigureOut">
              <a:rPr lang="en-GB" smtClean="0"/>
              <a:t>11/1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230F82-FE68-4450-98DF-5D29369AE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6603C1-6E1A-4E4B-9555-31D84B6BD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757CD-3B46-4C63-B887-90DD93699826}" type="slidenum">
              <a:rPr lang="en-GB" smtClean="0"/>
              <a:t>‹#›</a:t>
            </a:fld>
            <a:endParaRPr lang="en-GB"/>
          </a:p>
        </p:txBody>
      </p:sp>
      <p:grpSp>
        <p:nvGrpSpPr>
          <p:cNvPr id="41" name="Graphic 39">
            <a:extLst>
              <a:ext uri="{FF2B5EF4-FFF2-40B4-BE49-F238E27FC236}">
                <a16:creationId xmlns:a16="http://schemas.microsoft.com/office/drawing/2014/main" id="{1D75FFD8-3F66-48B3-BB01-D4B8A9496851}"/>
              </a:ext>
            </a:extLst>
          </p:cNvPr>
          <p:cNvGrpSpPr/>
          <p:nvPr/>
        </p:nvGrpSpPr>
        <p:grpSpPr>
          <a:xfrm>
            <a:off x="10008352" y="0"/>
            <a:ext cx="2188800" cy="1933794"/>
            <a:chOff x="10003200" y="0"/>
            <a:chExt cx="2188800" cy="1933794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9BA0EC60-510D-41EF-AFE6-E4E6BD83F8C9}"/>
                </a:ext>
              </a:extLst>
            </p:cNvPr>
            <p:cNvSpPr/>
            <p:nvPr/>
          </p:nvSpPr>
          <p:spPr>
            <a:xfrm>
              <a:off x="10712341" y="-7969"/>
              <a:ext cx="1466283" cy="1009398"/>
            </a:xfrm>
            <a:custGeom>
              <a:avLst/>
              <a:gdLst>
                <a:gd name="connsiteX0" fmla="*/ 1467972 w 1466283"/>
                <a:gd name="connsiteY0" fmla="*/ 752798 h 1009397"/>
                <a:gd name="connsiteX1" fmla="*/ 1221466 w 1466283"/>
                <a:gd name="connsiteY1" fmla="*/ 871801 h 1009397"/>
                <a:gd name="connsiteX2" fmla="*/ 425635 w 1466283"/>
                <a:gd name="connsiteY2" fmla="*/ 821862 h 1009397"/>
                <a:gd name="connsiteX3" fmla="*/ 158942 w 1466283"/>
                <a:gd name="connsiteY3" fmla="*/ 510543 h 1009397"/>
                <a:gd name="connsiteX4" fmla="*/ 145129 w 1466283"/>
                <a:gd name="connsiteY4" fmla="*/ 482917 h 1009397"/>
                <a:gd name="connsiteX5" fmla="*/ 52689 w 1466283"/>
                <a:gd name="connsiteY5" fmla="*/ 7969 h 1009397"/>
                <a:gd name="connsiteX6" fmla="*/ 14439 w 1466283"/>
                <a:gd name="connsiteY6" fmla="*/ 7969 h 1009397"/>
                <a:gd name="connsiteX7" fmla="*/ 111128 w 1466283"/>
                <a:gd name="connsiteY7" fmla="*/ 499918 h 1009397"/>
                <a:gd name="connsiteX8" fmla="*/ 124941 w 1466283"/>
                <a:gd name="connsiteY8" fmla="*/ 527543 h 1009397"/>
                <a:gd name="connsiteX9" fmla="*/ 402260 w 1466283"/>
                <a:gd name="connsiteY9" fmla="*/ 851613 h 1009397"/>
                <a:gd name="connsiteX10" fmla="*/ 845333 w 1466283"/>
                <a:gd name="connsiteY10" fmla="*/ 1004617 h 1009397"/>
                <a:gd name="connsiteX11" fmla="*/ 1238467 w 1466283"/>
                <a:gd name="connsiteY11" fmla="*/ 906864 h 1009397"/>
                <a:gd name="connsiteX12" fmla="*/ 1467972 w 1466283"/>
                <a:gd name="connsiteY12" fmla="*/ 795299 h 1009397"/>
                <a:gd name="connsiteX13" fmla="*/ 1467972 w 1466283"/>
                <a:gd name="connsiteY13" fmla="*/ 752798 h 1009397"/>
                <a:gd name="connsiteX14" fmla="*/ 1467972 w 1466283"/>
                <a:gd name="connsiteY14" fmla="*/ 752798 h 1009397"/>
                <a:gd name="connsiteX15" fmla="*/ 1467972 w 1466283"/>
                <a:gd name="connsiteY15" fmla="*/ 752798 h 100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66283" h="1009397">
                  <a:moveTo>
                    <a:pt x="1467972" y="752798"/>
                  </a:moveTo>
                  <a:lnTo>
                    <a:pt x="1221466" y="871801"/>
                  </a:lnTo>
                  <a:cubicBezTo>
                    <a:pt x="928209" y="1015242"/>
                    <a:pt x="660453" y="997179"/>
                    <a:pt x="425635" y="821862"/>
                  </a:cubicBezTo>
                  <a:cubicBezTo>
                    <a:pt x="250319" y="689047"/>
                    <a:pt x="158942" y="512668"/>
                    <a:pt x="158942" y="510543"/>
                  </a:cubicBezTo>
                  <a:lnTo>
                    <a:pt x="145129" y="482917"/>
                  </a:lnTo>
                  <a:cubicBezTo>
                    <a:pt x="61190" y="315038"/>
                    <a:pt x="29314" y="155660"/>
                    <a:pt x="52689" y="7969"/>
                  </a:cubicBezTo>
                  <a:lnTo>
                    <a:pt x="14439" y="7969"/>
                  </a:lnTo>
                  <a:cubicBezTo>
                    <a:pt x="-6812" y="163097"/>
                    <a:pt x="24001" y="327789"/>
                    <a:pt x="111128" y="499918"/>
                  </a:cubicBezTo>
                  <a:lnTo>
                    <a:pt x="124941" y="527543"/>
                  </a:lnTo>
                  <a:cubicBezTo>
                    <a:pt x="129191" y="534981"/>
                    <a:pt x="219506" y="714548"/>
                    <a:pt x="402260" y="851613"/>
                  </a:cubicBezTo>
                  <a:cubicBezTo>
                    <a:pt x="508512" y="931302"/>
                    <a:pt x="656203" y="1004617"/>
                    <a:pt x="845333" y="1004617"/>
                  </a:cubicBezTo>
                  <a:cubicBezTo>
                    <a:pt x="961148" y="1004617"/>
                    <a:pt x="1091838" y="976991"/>
                    <a:pt x="1238467" y="906864"/>
                  </a:cubicBezTo>
                  <a:lnTo>
                    <a:pt x="1467972" y="795299"/>
                  </a:lnTo>
                  <a:lnTo>
                    <a:pt x="1467972" y="752798"/>
                  </a:lnTo>
                  <a:lnTo>
                    <a:pt x="1467972" y="752798"/>
                  </a:lnTo>
                  <a:lnTo>
                    <a:pt x="1467972" y="75279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0162C508-E081-418C-A19D-15A59388C43A}"/>
                </a:ext>
              </a:extLst>
            </p:cNvPr>
            <p:cNvSpPr/>
            <p:nvPr/>
          </p:nvSpPr>
          <p:spPr>
            <a:xfrm>
              <a:off x="10014209" y="321414"/>
              <a:ext cx="2178175" cy="1593786"/>
            </a:xfrm>
            <a:custGeom>
              <a:avLst/>
              <a:gdLst>
                <a:gd name="connsiteX0" fmla="*/ 231247 w 2178174"/>
                <a:gd name="connsiteY0" fmla="*/ 950428 h 1593786"/>
                <a:gd name="connsiteX1" fmla="*/ 45305 w 2178174"/>
                <a:gd name="connsiteY1" fmla="*/ 1404126 h 1593786"/>
                <a:gd name="connsiteX2" fmla="*/ 50617 w 2178174"/>
                <a:gd name="connsiteY2" fmla="*/ 1415814 h 1593786"/>
                <a:gd name="connsiteX3" fmla="*/ 529816 w 2178174"/>
                <a:gd name="connsiteY3" fmla="*/ 1547566 h 1593786"/>
                <a:gd name="connsiteX4" fmla="*/ 2173541 w 2178174"/>
                <a:gd name="connsiteY4" fmla="*/ 749611 h 1593786"/>
                <a:gd name="connsiteX5" fmla="*/ 2173541 w 2178174"/>
                <a:gd name="connsiteY5" fmla="*/ 7969 h 1593786"/>
                <a:gd name="connsiteX6" fmla="*/ 231247 w 2178174"/>
                <a:gd name="connsiteY6" fmla="*/ 950428 h 1593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8174" h="1593786">
                  <a:moveTo>
                    <a:pt x="231247" y="950428"/>
                  </a:moveTo>
                  <a:cubicBezTo>
                    <a:pt x="231247" y="950428"/>
                    <a:pt x="-101324" y="1111932"/>
                    <a:pt x="45305" y="1404126"/>
                  </a:cubicBezTo>
                  <a:lnTo>
                    <a:pt x="50617" y="1415814"/>
                  </a:lnTo>
                  <a:cubicBezTo>
                    <a:pt x="50617" y="1415814"/>
                    <a:pt x="197246" y="1708008"/>
                    <a:pt x="529816" y="1547566"/>
                  </a:cubicBezTo>
                  <a:lnTo>
                    <a:pt x="2173541" y="749611"/>
                  </a:lnTo>
                  <a:lnTo>
                    <a:pt x="2173541" y="7969"/>
                  </a:lnTo>
                  <a:lnTo>
                    <a:pt x="231247" y="950428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710D7D-FC65-4BF6-BDA4-E59B01AD6FBC}"/>
                </a:ext>
              </a:extLst>
            </p:cNvPr>
            <p:cNvSpPr/>
            <p:nvPr/>
          </p:nvSpPr>
          <p:spPr>
            <a:xfrm>
              <a:off x="10732016" y="-7969"/>
              <a:ext cx="1455658" cy="839394"/>
            </a:xfrm>
            <a:custGeom>
              <a:avLst/>
              <a:gdLst>
                <a:gd name="connsiteX0" fmla="*/ 123329 w 1455658"/>
                <a:gd name="connsiteY0" fmla="*/ 521168 h 839394"/>
                <a:gd name="connsiteX1" fmla="*/ 390022 w 1455658"/>
                <a:gd name="connsiteY1" fmla="*/ 834613 h 839394"/>
                <a:gd name="connsiteX2" fmla="*/ 1455734 w 1455658"/>
                <a:gd name="connsiteY2" fmla="*/ 317163 h 839394"/>
                <a:gd name="connsiteX3" fmla="*/ 1456797 w 1455658"/>
                <a:gd name="connsiteY3" fmla="*/ 7969 h 839394"/>
                <a:gd name="connsiteX4" fmla="*/ 14951 w 1455658"/>
                <a:gd name="connsiteY4" fmla="*/ 7969 h 839394"/>
                <a:gd name="connsiteX5" fmla="*/ 109516 w 1455658"/>
                <a:gd name="connsiteY5" fmla="*/ 493543 h 839394"/>
                <a:gd name="connsiteX6" fmla="*/ 123329 w 1455658"/>
                <a:gd name="connsiteY6" fmla="*/ 521168 h 83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5658" h="839394">
                  <a:moveTo>
                    <a:pt x="123329" y="521168"/>
                  </a:moveTo>
                  <a:cubicBezTo>
                    <a:pt x="123329" y="521168"/>
                    <a:pt x="212581" y="698610"/>
                    <a:pt x="390022" y="834613"/>
                  </a:cubicBezTo>
                  <a:lnTo>
                    <a:pt x="1455734" y="317163"/>
                  </a:lnTo>
                  <a:lnTo>
                    <a:pt x="1456797" y="7969"/>
                  </a:lnTo>
                  <a:lnTo>
                    <a:pt x="14951" y="7969"/>
                  </a:lnTo>
                  <a:cubicBezTo>
                    <a:pt x="-5237" y="145035"/>
                    <a:pt x="16014" y="307601"/>
                    <a:pt x="109516" y="493543"/>
                  </a:cubicBezTo>
                  <a:lnTo>
                    <a:pt x="123329" y="521168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18811B6B-BBB0-4D69-AEF8-AD0A7F9A4B57}"/>
                </a:ext>
              </a:extLst>
            </p:cNvPr>
            <p:cNvSpPr/>
            <p:nvPr/>
          </p:nvSpPr>
          <p:spPr>
            <a:xfrm>
              <a:off x="11124635" y="1146995"/>
              <a:ext cx="1062524" cy="743767"/>
            </a:xfrm>
            <a:custGeom>
              <a:avLst/>
              <a:gdLst>
                <a:gd name="connsiteX0" fmla="*/ 1064178 w 1062524"/>
                <a:gd name="connsiteY0" fmla="*/ 7969 h 743766"/>
                <a:gd name="connsiteX1" fmla="*/ 91968 w 1062524"/>
                <a:gd name="connsiteY1" fmla="*/ 480792 h 743766"/>
                <a:gd name="connsiteX2" fmla="*/ 22904 w 1062524"/>
                <a:gd name="connsiteY2" fmla="*/ 658234 h 743766"/>
                <a:gd name="connsiteX3" fmla="*/ 25029 w 1062524"/>
                <a:gd name="connsiteY3" fmla="*/ 663546 h 743766"/>
                <a:gd name="connsiteX4" fmla="*/ 209908 w 1062524"/>
                <a:gd name="connsiteY4" fmla="*/ 718798 h 743766"/>
                <a:gd name="connsiteX5" fmla="*/ 1064178 w 1062524"/>
                <a:gd name="connsiteY5" fmla="*/ 302288 h 743766"/>
                <a:gd name="connsiteX6" fmla="*/ 1064178 w 1062524"/>
                <a:gd name="connsiteY6" fmla="*/ 7969 h 743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2524" h="743766">
                  <a:moveTo>
                    <a:pt x="1064178" y="7969"/>
                  </a:moveTo>
                  <a:lnTo>
                    <a:pt x="91968" y="480792"/>
                  </a:lnTo>
                  <a:cubicBezTo>
                    <a:pt x="91968" y="480792"/>
                    <a:pt x="-34472" y="543481"/>
                    <a:pt x="22904" y="658234"/>
                  </a:cubicBezTo>
                  <a:lnTo>
                    <a:pt x="25029" y="663546"/>
                  </a:lnTo>
                  <a:cubicBezTo>
                    <a:pt x="25029" y="663546"/>
                    <a:pt x="82405" y="780424"/>
                    <a:pt x="209908" y="718798"/>
                  </a:cubicBezTo>
                  <a:lnTo>
                    <a:pt x="1064178" y="302288"/>
                  </a:lnTo>
                  <a:lnTo>
                    <a:pt x="1064178" y="7969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DB7F04C-0D31-4172-9D02-F8C8B2043EB9}"/>
                </a:ext>
              </a:extLst>
            </p:cNvPr>
            <p:cNvSpPr/>
            <p:nvPr/>
          </p:nvSpPr>
          <p:spPr>
            <a:xfrm>
              <a:off x="11105057" y="1128932"/>
              <a:ext cx="1083775" cy="775643"/>
            </a:xfrm>
            <a:custGeom>
              <a:avLst/>
              <a:gdLst>
                <a:gd name="connsiteX0" fmla="*/ 219924 w 1083774"/>
                <a:gd name="connsiteY0" fmla="*/ 719860 h 775642"/>
                <a:gd name="connsiteX1" fmla="*/ 60545 w 1083774"/>
                <a:gd name="connsiteY1" fmla="*/ 674172 h 775642"/>
                <a:gd name="connsiteX2" fmla="*/ 58420 w 1083774"/>
                <a:gd name="connsiteY2" fmla="*/ 668859 h 775642"/>
                <a:gd name="connsiteX3" fmla="*/ 118984 w 1083774"/>
                <a:gd name="connsiteY3" fmla="*/ 515856 h 775642"/>
                <a:gd name="connsiteX4" fmla="*/ 1083756 w 1083774"/>
                <a:gd name="connsiteY4" fmla="*/ 48345 h 775642"/>
                <a:gd name="connsiteX5" fmla="*/ 1083756 w 1083774"/>
                <a:gd name="connsiteY5" fmla="*/ 7969 h 775642"/>
                <a:gd name="connsiteX6" fmla="*/ 103046 w 1083774"/>
                <a:gd name="connsiteY6" fmla="*/ 482917 h 775642"/>
                <a:gd name="connsiteX7" fmla="*/ 14856 w 1083774"/>
                <a:gd name="connsiteY7" fmla="*/ 578544 h 775642"/>
                <a:gd name="connsiteX8" fmla="*/ 24419 w 1083774"/>
                <a:gd name="connsiteY8" fmla="*/ 686922 h 775642"/>
                <a:gd name="connsiteX9" fmla="*/ 26544 w 1083774"/>
                <a:gd name="connsiteY9" fmla="*/ 692234 h 775642"/>
                <a:gd name="connsiteX10" fmla="*/ 157235 w 1083774"/>
                <a:gd name="connsiteY10" fmla="*/ 775111 h 775642"/>
                <a:gd name="connsiteX11" fmla="*/ 236924 w 1083774"/>
                <a:gd name="connsiteY11" fmla="*/ 754923 h 775642"/>
                <a:gd name="connsiteX12" fmla="*/ 1083756 w 1083774"/>
                <a:gd name="connsiteY12" fmla="*/ 344789 h 775642"/>
                <a:gd name="connsiteX13" fmla="*/ 1083756 w 1083774"/>
                <a:gd name="connsiteY13" fmla="*/ 301226 h 775642"/>
                <a:gd name="connsiteX14" fmla="*/ 219924 w 1083774"/>
                <a:gd name="connsiteY14" fmla="*/ 719860 h 77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83774" h="775642">
                  <a:moveTo>
                    <a:pt x="219924" y="719860"/>
                  </a:moveTo>
                  <a:cubicBezTo>
                    <a:pt x="112609" y="771924"/>
                    <a:pt x="65858" y="683734"/>
                    <a:pt x="60545" y="674172"/>
                  </a:cubicBezTo>
                  <a:lnTo>
                    <a:pt x="58420" y="668859"/>
                  </a:lnTo>
                  <a:cubicBezTo>
                    <a:pt x="9544" y="571107"/>
                    <a:pt x="114734" y="519043"/>
                    <a:pt x="118984" y="515856"/>
                  </a:cubicBezTo>
                  <a:lnTo>
                    <a:pt x="1083756" y="48345"/>
                  </a:lnTo>
                  <a:lnTo>
                    <a:pt x="1083756" y="7969"/>
                  </a:lnTo>
                  <a:lnTo>
                    <a:pt x="103046" y="482917"/>
                  </a:lnTo>
                  <a:cubicBezTo>
                    <a:pt x="100921" y="483980"/>
                    <a:pt x="36107" y="516918"/>
                    <a:pt x="14856" y="578544"/>
                  </a:cubicBezTo>
                  <a:cubicBezTo>
                    <a:pt x="3169" y="613608"/>
                    <a:pt x="6356" y="649733"/>
                    <a:pt x="24419" y="686922"/>
                  </a:cubicBezTo>
                  <a:lnTo>
                    <a:pt x="26544" y="692234"/>
                  </a:lnTo>
                  <a:cubicBezTo>
                    <a:pt x="44607" y="726235"/>
                    <a:pt x="88171" y="775111"/>
                    <a:pt x="157235" y="775111"/>
                  </a:cubicBezTo>
                  <a:cubicBezTo>
                    <a:pt x="180610" y="775111"/>
                    <a:pt x="207173" y="768736"/>
                    <a:pt x="236924" y="754923"/>
                  </a:cubicBezTo>
                  <a:lnTo>
                    <a:pt x="1083756" y="344789"/>
                  </a:lnTo>
                  <a:lnTo>
                    <a:pt x="1083756" y="301226"/>
                  </a:lnTo>
                  <a:lnTo>
                    <a:pt x="219924" y="71986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1FB04931-77A8-4259-95CA-DA7DEDB2DEFD}"/>
                </a:ext>
              </a:extLst>
            </p:cNvPr>
            <p:cNvSpPr/>
            <p:nvPr/>
          </p:nvSpPr>
          <p:spPr>
            <a:xfrm>
              <a:off x="9994666" y="301226"/>
              <a:ext cx="2199425" cy="1636287"/>
            </a:xfrm>
            <a:custGeom>
              <a:avLst/>
              <a:gdLst>
                <a:gd name="connsiteX0" fmla="*/ 538733 w 2199425"/>
                <a:gd name="connsiteY0" fmla="*/ 1550754 h 1636287"/>
                <a:gd name="connsiteX1" fmla="*/ 86098 w 2199425"/>
                <a:gd name="connsiteY1" fmla="*/ 1428564 h 1636287"/>
                <a:gd name="connsiteX2" fmla="*/ 80785 w 2199425"/>
                <a:gd name="connsiteY2" fmla="*/ 1416876 h 1636287"/>
                <a:gd name="connsiteX3" fmla="*/ 115848 w 2199425"/>
                <a:gd name="connsiteY3" fmla="*/ 1102369 h 1636287"/>
                <a:gd name="connsiteX4" fmla="*/ 257164 w 2199425"/>
                <a:gd name="connsiteY4" fmla="*/ 988679 h 1636287"/>
                <a:gd name="connsiteX5" fmla="*/ 2193084 w 2199425"/>
                <a:gd name="connsiteY5" fmla="*/ 49407 h 1636287"/>
                <a:gd name="connsiteX6" fmla="*/ 2193084 w 2199425"/>
                <a:gd name="connsiteY6" fmla="*/ 7969 h 1636287"/>
                <a:gd name="connsiteX7" fmla="*/ 241226 w 2199425"/>
                <a:gd name="connsiteY7" fmla="*/ 954678 h 1636287"/>
                <a:gd name="connsiteX8" fmla="*/ 23409 w 2199425"/>
                <a:gd name="connsiteY8" fmla="*/ 1187371 h 1636287"/>
                <a:gd name="connsiteX9" fmla="*/ 47847 w 2199425"/>
                <a:gd name="connsiteY9" fmla="*/ 1433876 h 1636287"/>
                <a:gd name="connsiteX10" fmla="*/ 53160 w 2199425"/>
                <a:gd name="connsiteY10" fmla="*/ 1445564 h 1636287"/>
                <a:gd name="connsiteX11" fmla="*/ 358104 w 2199425"/>
                <a:gd name="connsiteY11" fmla="*/ 1635756 h 1636287"/>
                <a:gd name="connsiteX12" fmla="*/ 555734 w 2199425"/>
                <a:gd name="connsiteY12" fmla="*/ 1585817 h 1636287"/>
                <a:gd name="connsiteX13" fmla="*/ 2193084 w 2199425"/>
                <a:gd name="connsiteY13" fmla="*/ 789987 h 1636287"/>
                <a:gd name="connsiteX14" fmla="*/ 2193084 w 2199425"/>
                <a:gd name="connsiteY14" fmla="*/ 748548 h 1636287"/>
                <a:gd name="connsiteX15" fmla="*/ 538733 w 2199425"/>
                <a:gd name="connsiteY15" fmla="*/ 1550754 h 163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9425" h="1636287">
                  <a:moveTo>
                    <a:pt x="538733" y="1550754"/>
                  </a:moveTo>
                  <a:cubicBezTo>
                    <a:pt x="228476" y="1701633"/>
                    <a:pt x="90348" y="1439189"/>
                    <a:pt x="86098" y="1428564"/>
                  </a:cubicBezTo>
                  <a:lnTo>
                    <a:pt x="80785" y="1416876"/>
                  </a:lnTo>
                  <a:cubicBezTo>
                    <a:pt x="24471" y="1303186"/>
                    <a:pt x="35097" y="1196934"/>
                    <a:pt x="115848" y="1102369"/>
                  </a:cubicBezTo>
                  <a:cubicBezTo>
                    <a:pt x="176412" y="1030117"/>
                    <a:pt x="256102" y="989741"/>
                    <a:pt x="257164" y="988679"/>
                  </a:cubicBezTo>
                  <a:lnTo>
                    <a:pt x="2193084" y="49407"/>
                  </a:lnTo>
                  <a:lnTo>
                    <a:pt x="2193084" y="7969"/>
                  </a:lnTo>
                  <a:lnTo>
                    <a:pt x="241226" y="954678"/>
                  </a:lnTo>
                  <a:cubicBezTo>
                    <a:pt x="234851" y="958928"/>
                    <a:pt x="74410" y="1037555"/>
                    <a:pt x="23409" y="1187371"/>
                  </a:cubicBezTo>
                  <a:cubicBezTo>
                    <a:pt x="-3154" y="1265998"/>
                    <a:pt x="4283" y="1348875"/>
                    <a:pt x="47847" y="1433876"/>
                  </a:cubicBezTo>
                  <a:lnTo>
                    <a:pt x="53160" y="1445564"/>
                  </a:lnTo>
                  <a:cubicBezTo>
                    <a:pt x="53160" y="1447689"/>
                    <a:pt x="150912" y="1635756"/>
                    <a:pt x="358104" y="1635756"/>
                  </a:cubicBezTo>
                  <a:cubicBezTo>
                    <a:pt x="415480" y="1635756"/>
                    <a:pt x="481357" y="1621943"/>
                    <a:pt x="555734" y="1585817"/>
                  </a:cubicBezTo>
                  <a:lnTo>
                    <a:pt x="2193084" y="789987"/>
                  </a:lnTo>
                  <a:lnTo>
                    <a:pt x="2193084" y="748548"/>
                  </a:lnTo>
                  <a:lnTo>
                    <a:pt x="538733" y="155075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8" name="Graphic 19">
            <a:extLst>
              <a:ext uri="{FF2B5EF4-FFF2-40B4-BE49-F238E27FC236}">
                <a16:creationId xmlns:a16="http://schemas.microsoft.com/office/drawing/2014/main" id="{436C4D92-1746-4D54-8232-468DFF66CF79}"/>
              </a:ext>
            </a:extLst>
          </p:cNvPr>
          <p:cNvSpPr/>
          <p:nvPr/>
        </p:nvSpPr>
        <p:spPr>
          <a:xfrm>
            <a:off x="838200" y="1492524"/>
            <a:ext cx="6153912" cy="151200"/>
          </a:xfrm>
          <a:custGeom>
            <a:avLst/>
            <a:gdLst>
              <a:gd name="connsiteX0" fmla="*/ 4568666 w 4629150"/>
              <a:gd name="connsiteY0" fmla="*/ 118586 h 123825"/>
              <a:gd name="connsiteX1" fmla="*/ 62389 w 4629150"/>
              <a:gd name="connsiteY1" fmla="*/ 118586 h 123825"/>
              <a:gd name="connsiteX2" fmla="*/ 7144 w 4629150"/>
              <a:gd name="connsiteY2" fmla="*/ 62389 h 123825"/>
              <a:gd name="connsiteX3" fmla="*/ 7144 w 4629150"/>
              <a:gd name="connsiteY3" fmla="*/ 62389 h 123825"/>
              <a:gd name="connsiteX4" fmla="*/ 62389 w 4629150"/>
              <a:gd name="connsiteY4" fmla="*/ 7144 h 123825"/>
              <a:gd name="connsiteX5" fmla="*/ 4568666 w 4629150"/>
              <a:gd name="connsiteY5" fmla="*/ 7144 h 123825"/>
              <a:gd name="connsiteX6" fmla="*/ 4623912 w 4629150"/>
              <a:gd name="connsiteY6" fmla="*/ 62389 h 123825"/>
              <a:gd name="connsiteX7" fmla="*/ 4623912 w 4629150"/>
              <a:gd name="connsiteY7" fmla="*/ 62389 h 123825"/>
              <a:gd name="connsiteX8" fmla="*/ 4568666 w 4629150"/>
              <a:gd name="connsiteY8" fmla="*/ 118586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29150" h="123825">
                <a:moveTo>
                  <a:pt x="4568666" y="118586"/>
                </a:moveTo>
                <a:lnTo>
                  <a:pt x="62389" y="118586"/>
                </a:lnTo>
                <a:cubicBezTo>
                  <a:pt x="31909" y="118586"/>
                  <a:pt x="7144" y="92869"/>
                  <a:pt x="7144" y="62389"/>
                </a:cubicBezTo>
                <a:lnTo>
                  <a:pt x="7144" y="62389"/>
                </a:lnTo>
                <a:cubicBezTo>
                  <a:pt x="7144" y="31909"/>
                  <a:pt x="31909" y="7144"/>
                  <a:pt x="62389" y="7144"/>
                </a:cubicBezTo>
                <a:lnTo>
                  <a:pt x="4568666" y="7144"/>
                </a:lnTo>
                <a:cubicBezTo>
                  <a:pt x="4599147" y="7144"/>
                  <a:pt x="4623912" y="31909"/>
                  <a:pt x="4623912" y="62389"/>
                </a:cubicBezTo>
                <a:lnTo>
                  <a:pt x="4623912" y="62389"/>
                </a:lnTo>
                <a:cubicBezTo>
                  <a:pt x="4623912" y="92869"/>
                  <a:pt x="4599147" y="118586"/>
                  <a:pt x="4568666" y="118586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9" name="Title 6">
            <a:extLst>
              <a:ext uri="{FF2B5EF4-FFF2-40B4-BE49-F238E27FC236}">
                <a16:creationId xmlns:a16="http://schemas.microsoft.com/office/drawing/2014/main" id="{E77FD51D-3B1F-4D51-8A61-6CF8222774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9050518" cy="9454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8745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Oval 47">
            <a:extLst>
              <a:ext uri="{FF2B5EF4-FFF2-40B4-BE49-F238E27FC236}">
                <a16:creationId xmlns:a16="http://schemas.microsoft.com/office/drawing/2014/main" id="{2F290D8B-987A-4555-890C-F3CD026BF7BF}"/>
              </a:ext>
            </a:extLst>
          </p:cNvPr>
          <p:cNvSpPr/>
          <p:nvPr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Graphic 12">
            <a:extLst>
              <a:ext uri="{FF2B5EF4-FFF2-40B4-BE49-F238E27FC236}">
                <a16:creationId xmlns:a16="http://schemas.microsoft.com/office/drawing/2014/main" id="{6139C5E6-5A04-4458-8EF9-628BFBA73A92}"/>
              </a:ext>
            </a:extLst>
          </p:cNvPr>
          <p:cNvSpPr/>
          <p:nvPr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2A0631-3130-4C36-8E5E-80464B1A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205F7-811A-4606-AC7E-593528945A21}" type="datetimeFigureOut">
              <a:rPr lang="en-GB" smtClean="0"/>
              <a:t>11/1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230F82-FE68-4450-98DF-5D29369AE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6603C1-6E1A-4E4B-9555-31D84B6BD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757CD-3B46-4C63-B887-90DD93699826}" type="slidenum">
              <a:rPr lang="en-GB" smtClean="0"/>
              <a:t>‹#›</a:t>
            </a:fld>
            <a:endParaRPr lang="en-GB"/>
          </a:p>
        </p:txBody>
      </p:sp>
      <p:grpSp>
        <p:nvGrpSpPr>
          <p:cNvPr id="41" name="Graphic 39">
            <a:extLst>
              <a:ext uri="{FF2B5EF4-FFF2-40B4-BE49-F238E27FC236}">
                <a16:creationId xmlns:a16="http://schemas.microsoft.com/office/drawing/2014/main" id="{1D75FFD8-3F66-48B3-BB01-D4B8A9496851}"/>
              </a:ext>
            </a:extLst>
          </p:cNvPr>
          <p:cNvGrpSpPr/>
          <p:nvPr/>
        </p:nvGrpSpPr>
        <p:grpSpPr>
          <a:xfrm>
            <a:off x="10008352" y="0"/>
            <a:ext cx="2188800" cy="1933794"/>
            <a:chOff x="10003200" y="0"/>
            <a:chExt cx="2188800" cy="1933794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9BA0EC60-510D-41EF-AFE6-E4E6BD83F8C9}"/>
                </a:ext>
              </a:extLst>
            </p:cNvPr>
            <p:cNvSpPr/>
            <p:nvPr/>
          </p:nvSpPr>
          <p:spPr>
            <a:xfrm>
              <a:off x="10712341" y="-7969"/>
              <a:ext cx="1466283" cy="1009398"/>
            </a:xfrm>
            <a:custGeom>
              <a:avLst/>
              <a:gdLst>
                <a:gd name="connsiteX0" fmla="*/ 1467972 w 1466283"/>
                <a:gd name="connsiteY0" fmla="*/ 752798 h 1009397"/>
                <a:gd name="connsiteX1" fmla="*/ 1221466 w 1466283"/>
                <a:gd name="connsiteY1" fmla="*/ 871801 h 1009397"/>
                <a:gd name="connsiteX2" fmla="*/ 425635 w 1466283"/>
                <a:gd name="connsiteY2" fmla="*/ 821862 h 1009397"/>
                <a:gd name="connsiteX3" fmla="*/ 158942 w 1466283"/>
                <a:gd name="connsiteY3" fmla="*/ 510543 h 1009397"/>
                <a:gd name="connsiteX4" fmla="*/ 145129 w 1466283"/>
                <a:gd name="connsiteY4" fmla="*/ 482917 h 1009397"/>
                <a:gd name="connsiteX5" fmla="*/ 52689 w 1466283"/>
                <a:gd name="connsiteY5" fmla="*/ 7969 h 1009397"/>
                <a:gd name="connsiteX6" fmla="*/ 14439 w 1466283"/>
                <a:gd name="connsiteY6" fmla="*/ 7969 h 1009397"/>
                <a:gd name="connsiteX7" fmla="*/ 111128 w 1466283"/>
                <a:gd name="connsiteY7" fmla="*/ 499918 h 1009397"/>
                <a:gd name="connsiteX8" fmla="*/ 124941 w 1466283"/>
                <a:gd name="connsiteY8" fmla="*/ 527543 h 1009397"/>
                <a:gd name="connsiteX9" fmla="*/ 402260 w 1466283"/>
                <a:gd name="connsiteY9" fmla="*/ 851613 h 1009397"/>
                <a:gd name="connsiteX10" fmla="*/ 845333 w 1466283"/>
                <a:gd name="connsiteY10" fmla="*/ 1004617 h 1009397"/>
                <a:gd name="connsiteX11" fmla="*/ 1238467 w 1466283"/>
                <a:gd name="connsiteY11" fmla="*/ 906864 h 1009397"/>
                <a:gd name="connsiteX12" fmla="*/ 1467972 w 1466283"/>
                <a:gd name="connsiteY12" fmla="*/ 795299 h 1009397"/>
                <a:gd name="connsiteX13" fmla="*/ 1467972 w 1466283"/>
                <a:gd name="connsiteY13" fmla="*/ 752798 h 1009397"/>
                <a:gd name="connsiteX14" fmla="*/ 1467972 w 1466283"/>
                <a:gd name="connsiteY14" fmla="*/ 752798 h 1009397"/>
                <a:gd name="connsiteX15" fmla="*/ 1467972 w 1466283"/>
                <a:gd name="connsiteY15" fmla="*/ 752798 h 100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66283" h="1009397">
                  <a:moveTo>
                    <a:pt x="1467972" y="752798"/>
                  </a:moveTo>
                  <a:lnTo>
                    <a:pt x="1221466" y="871801"/>
                  </a:lnTo>
                  <a:cubicBezTo>
                    <a:pt x="928209" y="1015242"/>
                    <a:pt x="660453" y="997179"/>
                    <a:pt x="425635" y="821862"/>
                  </a:cubicBezTo>
                  <a:cubicBezTo>
                    <a:pt x="250319" y="689047"/>
                    <a:pt x="158942" y="512668"/>
                    <a:pt x="158942" y="510543"/>
                  </a:cubicBezTo>
                  <a:lnTo>
                    <a:pt x="145129" y="482917"/>
                  </a:lnTo>
                  <a:cubicBezTo>
                    <a:pt x="61190" y="315038"/>
                    <a:pt x="29314" y="155660"/>
                    <a:pt x="52689" y="7969"/>
                  </a:cubicBezTo>
                  <a:lnTo>
                    <a:pt x="14439" y="7969"/>
                  </a:lnTo>
                  <a:cubicBezTo>
                    <a:pt x="-6812" y="163097"/>
                    <a:pt x="24001" y="327789"/>
                    <a:pt x="111128" y="499918"/>
                  </a:cubicBezTo>
                  <a:lnTo>
                    <a:pt x="124941" y="527543"/>
                  </a:lnTo>
                  <a:cubicBezTo>
                    <a:pt x="129191" y="534981"/>
                    <a:pt x="219506" y="714548"/>
                    <a:pt x="402260" y="851613"/>
                  </a:cubicBezTo>
                  <a:cubicBezTo>
                    <a:pt x="508512" y="931302"/>
                    <a:pt x="656203" y="1004617"/>
                    <a:pt x="845333" y="1004617"/>
                  </a:cubicBezTo>
                  <a:cubicBezTo>
                    <a:pt x="961148" y="1004617"/>
                    <a:pt x="1091838" y="976991"/>
                    <a:pt x="1238467" y="906864"/>
                  </a:cubicBezTo>
                  <a:lnTo>
                    <a:pt x="1467972" y="795299"/>
                  </a:lnTo>
                  <a:lnTo>
                    <a:pt x="1467972" y="752798"/>
                  </a:lnTo>
                  <a:lnTo>
                    <a:pt x="1467972" y="752798"/>
                  </a:lnTo>
                  <a:lnTo>
                    <a:pt x="1467972" y="75279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0162C508-E081-418C-A19D-15A59388C43A}"/>
                </a:ext>
              </a:extLst>
            </p:cNvPr>
            <p:cNvSpPr/>
            <p:nvPr/>
          </p:nvSpPr>
          <p:spPr>
            <a:xfrm>
              <a:off x="10014209" y="321414"/>
              <a:ext cx="2178175" cy="1593786"/>
            </a:xfrm>
            <a:custGeom>
              <a:avLst/>
              <a:gdLst>
                <a:gd name="connsiteX0" fmla="*/ 231247 w 2178174"/>
                <a:gd name="connsiteY0" fmla="*/ 950428 h 1593786"/>
                <a:gd name="connsiteX1" fmla="*/ 45305 w 2178174"/>
                <a:gd name="connsiteY1" fmla="*/ 1404126 h 1593786"/>
                <a:gd name="connsiteX2" fmla="*/ 50617 w 2178174"/>
                <a:gd name="connsiteY2" fmla="*/ 1415814 h 1593786"/>
                <a:gd name="connsiteX3" fmla="*/ 529816 w 2178174"/>
                <a:gd name="connsiteY3" fmla="*/ 1547566 h 1593786"/>
                <a:gd name="connsiteX4" fmla="*/ 2173541 w 2178174"/>
                <a:gd name="connsiteY4" fmla="*/ 749611 h 1593786"/>
                <a:gd name="connsiteX5" fmla="*/ 2173541 w 2178174"/>
                <a:gd name="connsiteY5" fmla="*/ 7969 h 1593786"/>
                <a:gd name="connsiteX6" fmla="*/ 231247 w 2178174"/>
                <a:gd name="connsiteY6" fmla="*/ 950428 h 1593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8174" h="1593786">
                  <a:moveTo>
                    <a:pt x="231247" y="950428"/>
                  </a:moveTo>
                  <a:cubicBezTo>
                    <a:pt x="231247" y="950428"/>
                    <a:pt x="-101324" y="1111932"/>
                    <a:pt x="45305" y="1404126"/>
                  </a:cubicBezTo>
                  <a:lnTo>
                    <a:pt x="50617" y="1415814"/>
                  </a:lnTo>
                  <a:cubicBezTo>
                    <a:pt x="50617" y="1415814"/>
                    <a:pt x="197246" y="1708008"/>
                    <a:pt x="529816" y="1547566"/>
                  </a:cubicBezTo>
                  <a:lnTo>
                    <a:pt x="2173541" y="749611"/>
                  </a:lnTo>
                  <a:lnTo>
                    <a:pt x="2173541" y="7969"/>
                  </a:lnTo>
                  <a:lnTo>
                    <a:pt x="231247" y="950428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710D7D-FC65-4BF6-BDA4-E59B01AD6FBC}"/>
                </a:ext>
              </a:extLst>
            </p:cNvPr>
            <p:cNvSpPr/>
            <p:nvPr/>
          </p:nvSpPr>
          <p:spPr>
            <a:xfrm>
              <a:off x="10732016" y="-7969"/>
              <a:ext cx="1455658" cy="839394"/>
            </a:xfrm>
            <a:custGeom>
              <a:avLst/>
              <a:gdLst>
                <a:gd name="connsiteX0" fmla="*/ 123329 w 1455658"/>
                <a:gd name="connsiteY0" fmla="*/ 521168 h 839394"/>
                <a:gd name="connsiteX1" fmla="*/ 390022 w 1455658"/>
                <a:gd name="connsiteY1" fmla="*/ 834613 h 839394"/>
                <a:gd name="connsiteX2" fmla="*/ 1455734 w 1455658"/>
                <a:gd name="connsiteY2" fmla="*/ 317163 h 839394"/>
                <a:gd name="connsiteX3" fmla="*/ 1456797 w 1455658"/>
                <a:gd name="connsiteY3" fmla="*/ 7969 h 839394"/>
                <a:gd name="connsiteX4" fmla="*/ 14951 w 1455658"/>
                <a:gd name="connsiteY4" fmla="*/ 7969 h 839394"/>
                <a:gd name="connsiteX5" fmla="*/ 109516 w 1455658"/>
                <a:gd name="connsiteY5" fmla="*/ 493543 h 839394"/>
                <a:gd name="connsiteX6" fmla="*/ 123329 w 1455658"/>
                <a:gd name="connsiteY6" fmla="*/ 521168 h 83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5658" h="839394">
                  <a:moveTo>
                    <a:pt x="123329" y="521168"/>
                  </a:moveTo>
                  <a:cubicBezTo>
                    <a:pt x="123329" y="521168"/>
                    <a:pt x="212581" y="698610"/>
                    <a:pt x="390022" y="834613"/>
                  </a:cubicBezTo>
                  <a:lnTo>
                    <a:pt x="1455734" y="317163"/>
                  </a:lnTo>
                  <a:lnTo>
                    <a:pt x="1456797" y="7969"/>
                  </a:lnTo>
                  <a:lnTo>
                    <a:pt x="14951" y="7969"/>
                  </a:lnTo>
                  <a:cubicBezTo>
                    <a:pt x="-5237" y="145035"/>
                    <a:pt x="16014" y="307601"/>
                    <a:pt x="109516" y="493543"/>
                  </a:cubicBezTo>
                  <a:lnTo>
                    <a:pt x="123329" y="521168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18811B6B-BBB0-4D69-AEF8-AD0A7F9A4B57}"/>
                </a:ext>
              </a:extLst>
            </p:cNvPr>
            <p:cNvSpPr/>
            <p:nvPr/>
          </p:nvSpPr>
          <p:spPr>
            <a:xfrm>
              <a:off x="11124635" y="1146995"/>
              <a:ext cx="1062524" cy="743767"/>
            </a:xfrm>
            <a:custGeom>
              <a:avLst/>
              <a:gdLst>
                <a:gd name="connsiteX0" fmla="*/ 1064178 w 1062524"/>
                <a:gd name="connsiteY0" fmla="*/ 7969 h 743766"/>
                <a:gd name="connsiteX1" fmla="*/ 91968 w 1062524"/>
                <a:gd name="connsiteY1" fmla="*/ 480792 h 743766"/>
                <a:gd name="connsiteX2" fmla="*/ 22904 w 1062524"/>
                <a:gd name="connsiteY2" fmla="*/ 658234 h 743766"/>
                <a:gd name="connsiteX3" fmla="*/ 25029 w 1062524"/>
                <a:gd name="connsiteY3" fmla="*/ 663546 h 743766"/>
                <a:gd name="connsiteX4" fmla="*/ 209908 w 1062524"/>
                <a:gd name="connsiteY4" fmla="*/ 718798 h 743766"/>
                <a:gd name="connsiteX5" fmla="*/ 1064178 w 1062524"/>
                <a:gd name="connsiteY5" fmla="*/ 302288 h 743766"/>
                <a:gd name="connsiteX6" fmla="*/ 1064178 w 1062524"/>
                <a:gd name="connsiteY6" fmla="*/ 7969 h 743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2524" h="743766">
                  <a:moveTo>
                    <a:pt x="1064178" y="7969"/>
                  </a:moveTo>
                  <a:lnTo>
                    <a:pt x="91968" y="480792"/>
                  </a:lnTo>
                  <a:cubicBezTo>
                    <a:pt x="91968" y="480792"/>
                    <a:pt x="-34472" y="543481"/>
                    <a:pt x="22904" y="658234"/>
                  </a:cubicBezTo>
                  <a:lnTo>
                    <a:pt x="25029" y="663546"/>
                  </a:lnTo>
                  <a:cubicBezTo>
                    <a:pt x="25029" y="663546"/>
                    <a:pt x="82405" y="780424"/>
                    <a:pt x="209908" y="718798"/>
                  </a:cubicBezTo>
                  <a:lnTo>
                    <a:pt x="1064178" y="302288"/>
                  </a:lnTo>
                  <a:lnTo>
                    <a:pt x="1064178" y="7969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DB7F04C-0D31-4172-9D02-F8C8B2043EB9}"/>
                </a:ext>
              </a:extLst>
            </p:cNvPr>
            <p:cNvSpPr/>
            <p:nvPr/>
          </p:nvSpPr>
          <p:spPr>
            <a:xfrm>
              <a:off x="11105057" y="1128932"/>
              <a:ext cx="1083775" cy="775643"/>
            </a:xfrm>
            <a:custGeom>
              <a:avLst/>
              <a:gdLst>
                <a:gd name="connsiteX0" fmla="*/ 219924 w 1083774"/>
                <a:gd name="connsiteY0" fmla="*/ 719860 h 775642"/>
                <a:gd name="connsiteX1" fmla="*/ 60545 w 1083774"/>
                <a:gd name="connsiteY1" fmla="*/ 674172 h 775642"/>
                <a:gd name="connsiteX2" fmla="*/ 58420 w 1083774"/>
                <a:gd name="connsiteY2" fmla="*/ 668859 h 775642"/>
                <a:gd name="connsiteX3" fmla="*/ 118984 w 1083774"/>
                <a:gd name="connsiteY3" fmla="*/ 515856 h 775642"/>
                <a:gd name="connsiteX4" fmla="*/ 1083756 w 1083774"/>
                <a:gd name="connsiteY4" fmla="*/ 48345 h 775642"/>
                <a:gd name="connsiteX5" fmla="*/ 1083756 w 1083774"/>
                <a:gd name="connsiteY5" fmla="*/ 7969 h 775642"/>
                <a:gd name="connsiteX6" fmla="*/ 103046 w 1083774"/>
                <a:gd name="connsiteY6" fmla="*/ 482917 h 775642"/>
                <a:gd name="connsiteX7" fmla="*/ 14856 w 1083774"/>
                <a:gd name="connsiteY7" fmla="*/ 578544 h 775642"/>
                <a:gd name="connsiteX8" fmla="*/ 24419 w 1083774"/>
                <a:gd name="connsiteY8" fmla="*/ 686922 h 775642"/>
                <a:gd name="connsiteX9" fmla="*/ 26544 w 1083774"/>
                <a:gd name="connsiteY9" fmla="*/ 692234 h 775642"/>
                <a:gd name="connsiteX10" fmla="*/ 157235 w 1083774"/>
                <a:gd name="connsiteY10" fmla="*/ 775111 h 775642"/>
                <a:gd name="connsiteX11" fmla="*/ 236924 w 1083774"/>
                <a:gd name="connsiteY11" fmla="*/ 754923 h 775642"/>
                <a:gd name="connsiteX12" fmla="*/ 1083756 w 1083774"/>
                <a:gd name="connsiteY12" fmla="*/ 344789 h 775642"/>
                <a:gd name="connsiteX13" fmla="*/ 1083756 w 1083774"/>
                <a:gd name="connsiteY13" fmla="*/ 301226 h 775642"/>
                <a:gd name="connsiteX14" fmla="*/ 219924 w 1083774"/>
                <a:gd name="connsiteY14" fmla="*/ 719860 h 77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83774" h="775642">
                  <a:moveTo>
                    <a:pt x="219924" y="719860"/>
                  </a:moveTo>
                  <a:cubicBezTo>
                    <a:pt x="112609" y="771924"/>
                    <a:pt x="65858" y="683734"/>
                    <a:pt x="60545" y="674172"/>
                  </a:cubicBezTo>
                  <a:lnTo>
                    <a:pt x="58420" y="668859"/>
                  </a:lnTo>
                  <a:cubicBezTo>
                    <a:pt x="9544" y="571107"/>
                    <a:pt x="114734" y="519043"/>
                    <a:pt x="118984" y="515856"/>
                  </a:cubicBezTo>
                  <a:lnTo>
                    <a:pt x="1083756" y="48345"/>
                  </a:lnTo>
                  <a:lnTo>
                    <a:pt x="1083756" y="7969"/>
                  </a:lnTo>
                  <a:lnTo>
                    <a:pt x="103046" y="482917"/>
                  </a:lnTo>
                  <a:cubicBezTo>
                    <a:pt x="100921" y="483980"/>
                    <a:pt x="36107" y="516918"/>
                    <a:pt x="14856" y="578544"/>
                  </a:cubicBezTo>
                  <a:cubicBezTo>
                    <a:pt x="3169" y="613608"/>
                    <a:pt x="6356" y="649733"/>
                    <a:pt x="24419" y="686922"/>
                  </a:cubicBezTo>
                  <a:lnTo>
                    <a:pt x="26544" y="692234"/>
                  </a:lnTo>
                  <a:cubicBezTo>
                    <a:pt x="44607" y="726235"/>
                    <a:pt x="88171" y="775111"/>
                    <a:pt x="157235" y="775111"/>
                  </a:cubicBezTo>
                  <a:cubicBezTo>
                    <a:pt x="180610" y="775111"/>
                    <a:pt x="207173" y="768736"/>
                    <a:pt x="236924" y="754923"/>
                  </a:cubicBezTo>
                  <a:lnTo>
                    <a:pt x="1083756" y="344789"/>
                  </a:lnTo>
                  <a:lnTo>
                    <a:pt x="1083756" y="301226"/>
                  </a:lnTo>
                  <a:lnTo>
                    <a:pt x="219924" y="71986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1FB04931-77A8-4259-95CA-DA7DEDB2DEFD}"/>
                </a:ext>
              </a:extLst>
            </p:cNvPr>
            <p:cNvSpPr/>
            <p:nvPr/>
          </p:nvSpPr>
          <p:spPr>
            <a:xfrm>
              <a:off x="9994666" y="301226"/>
              <a:ext cx="2199425" cy="1636287"/>
            </a:xfrm>
            <a:custGeom>
              <a:avLst/>
              <a:gdLst>
                <a:gd name="connsiteX0" fmla="*/ 538733 w 2199425"/>
                <a:gd name="connsiteY0" fmla="*/ 1550754 h 1636287"/>
                <a:gd name="connsiteX1" fmla="*/ 86098 w 2199425"/>
                <a:gd name="connsiteY1" fmla="*/ 1428564 h 1636287"/>
                <a:gd name="connsiteX2" fmla="*/ 80785 w 2199425"/>
                <a:gd name="connsiteY2" fmla="*/ 1416876 h 1636287"/>
                <a:gd name="connsiteX3" fmla="*/ 115848 w 2199425"/>
                <a:gd name="connsiteY3" fmla="*/ 1102369 h 1636287"/>
                <a:gd name="connsiteX4" fmla="*/ 257164 w 2199425"/>
                <a:gd name="connsiteY4" fmla="*/ 988679 h 1636287"/>
                <a:gd name="connsiteX5" fmla="*/ 2193084 w 2199425"/>
                <a:gd name="connsiteY5" fmla="*/ 49407 h 1636287"/>
                <a:gd name="connsiteX6" fmla="*/ 2193084 w 2199425"/>
                <a:gd name="connsiteY6" fmla="*/ 7969 h 1636287"/>
                <a:gd name="connsiteX7" fmla="*/ 241226 w 2199425"/>
                <a:gd name="connsiteY7" fmla="*/ 954678 h 1636287"/>
                <a:gd name="connsiteX8" fmla="*/ 23409 w 2199425"/>
                <a:gd name="connsiteY8" fmla="*/ 1187371 h 1636287"/>
                <a:gd name="connsiteX9" fmla="*/ 47847 w 2199425"/>
                <a:gd name="connsiteY9" fmla="*/ 1433876 h 1636287"/>
                <a:gd name="connsiteX10" fmla="*/ 53160 w 2199425"/>
                <a:gd name="connsiteY10" fmla="*/ 1445564 h 1636287"/>
                <a:gd name="connsiteX11" fmla="*/ 358104 w 2199425"/>
                <a:gd name="connsiteY11" fmla="*/ 1635756 h 1636287"/>
                <a:gd name="connsiteX12" fmla="*/ 555734 w 2199425"/>
                <a:gd name="connsiteY12" fmla="*/ 1585817 h 1636287"/>
                <a:gd name="connsiteX13" fmla="*/ 2193084 w 2199425"/>
                <a:gd name="connsiteY13" fmla="*/ 789987 h 1636287"/>
                <a:gd name="connsiteX14" fmla="*/ 2193084 w 2199425"/>
                <a:gd name="connsiteY14" fmla="*/ 748548 h 1636287"/>
                <a:gd name="connsiteX15" fmla="*/ 538733 w 2199425"/>
                <a:gd name="connsiteY15" fmla="*/ 1550754 h 163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9425" h="1636287">
                  <a:moveTo>
                    <a:pt x="538733" y="1550754"/>
                  </a:moveTo>
                  <a:cubicBezTo>
                    <a:pt x="228476" y="1701633"/>
                    <a:pt x="90348" y="1439189"/>
                    <a:pt x="86098" y="1428564"/>
                  </a:cubicBezTo>
                  <a:lnTo>
                    <a:pt x="80785" y="1416876"/>
                  </a:lnTo>
                  <a:cubicBezTo>
                    <a:pt x="24471" y="1303186"/>
                    <a:pt x="35097" y="1196934"/>
                    <a:pt x="115848" y="1102369"/>
                  </a:cubicBezTo>
                  <a:cubicBezTo>
                    <a:pt x="176412" y="1030117"/>
                    <a:pt x="256102" y="989741"/>
                    <a:pt x="257164" y="988679"/>
                  </a:cubicBezTo>
                  <a:lnTo>
                    <a:pt x="2193084" y="49407"/>
                  </a:lnTo>
                  <a:lnTo>
                    <a:pt x="2193084" y="7969"/>
                  </a:lnTo>
                  <a:lnTo>
                    <a:pt x="241226" y="954678"/>
                  </a:lnTo>
                  <a:cubicBezTo>
                    <a:pt x="234851" y="958928"/>
                    <a:pt x="74410" y="1037555"/>
                    <a:pt x="23409" y="1187371"/>
                  </a:cubicBezTo>
                  <a:cubicBezTo>
                    <a:pt x="-3154" y="1265998"/>
                    <a:pt x="4283" y="1348875"/>
                    <a:pt x="47847" y="1433876"/>
                  </a:cubicBezTo>
                  <a:lnTo>
                    <a:pt x="53160" y="1445564"/>
                  </a:lnTo>
                  <a:cubicBezTo>
                    <a:pt x="53160" y="1447689"/>
                    <a:pt x="150912" y="1635756"/>
                    <a:pt x="358104" y="1635756"/>
                  </a:cubicBezTo>
                  <a:cubicBezTo>
                    <a:pt x="415480" y="1635756"/>
                    <a:pt x="481357" y="1621943"/>
                    <a:pt x="555734" y="1585817"/>
                  </a:cubicBezTo>
                  <a:lnTo>
                    <a:pt x="2193084" y="789987"/>
                  </a:lnTo>
                  <a:lnTo>
                    <a:pt x="2193084" y="748548"/>
                  </a:lnTo>
                  <a:lnTo>
                    <a:pt x="538733" y="155075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1301652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12A714F2-A8EC-40F7-ACFF-A00E1DD10C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2412" y="2373273"/>
            <a:ext cx="11271651" cy="2549580"/>
          </a:xfrm>
          <a:custGeom>
            <a:avLst/>
            <a:gdLst>
              <a:gd name="connsiteX0" fmla="*/ 1257522 w 11271651"/>
              <a:gd name="connsiteY0" fmla="*/ 0 h 2549580"/>
              <a:gd name="connsiteX1" fmla="*/ 7117931 w 11271651"/>
              <a:gd name="connsiteY1" fmla="*/ 0 h 2549580"/>
              <a:gd name="connsiteX2" fmla="*/ 7133189 w 11271651"/>
              <a:gd name="connsiteY2" fmla="*/ 37934 h 2549580"/>
              <a:gd name="connsiteX3" fmla="*/ 7567673 w 11271651"/>
              <a:gd name="connsiteY3" fmla="*/ 284761 h 2549580"/>
              <a:gd name="connsiteX4" fmla="*/ 11271651 w 11271651"/>
              <a:gd name="connsiteY4" fmla="*/ 284761 h 2549580"/>
              <a:gd name="connsiteX5" fmla="*/ 11271651 w 11271651"/>
              <a:gd name="connsiteY5" fmla="*/ 2292367 h 2549580"/>
              <a:gd name="connsiteX6" fmla="*/ 3360838 w 11271651"/>
              <a:gd name="connsiteY6" fmla="*/ 2292367 h 2549580"/>
              <a:gd name="connsiteX7" fmla="*/ 3027059 w 11271651"/>
              <a:gd name="connsiteY7" fmla="*/ 2473692 h 2549580"/>
              <a:gd name="connsiteX8" fmla="*/ 2997435 w 11271651"/>
              <a:gd name="connsiteY8" fmla="*/ 2549580 h 2549580"/>
              <a:gd name="connsiteX9" fmla="*/ 1257522 w 11271651"/>
              <a:gd name="connsiteY9" fmla="*/ 2549580 h 2549580"/>
              <a:gd name="connsiteX10" fmla="*/ 0 w 11271651"/>
              <a:gd name="connsiteY10" fmla="*/ 1291940 h 2549580"/>
              <a:gd name="connsiteX11" fmla="*/ 0 w 11271651"/>
              <a:gd name="connsiteY11" fmla="*/ 1257641 h 2549580"/>
              <a:gd name="connsiteX12" fmla="*/ 1257522 w 11271651"/>
              <a:gd name="connsiteY12" fmla="*/ 0 h 2549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271651" h="2549580">
                <a:moveTo>
                  <a:pt x="1257522" y="0"/>
                </a:moveTo>
                <a:lnTo>
                  <a:pt x="7117931" y="0"/>
                </a:lnTo>
                <a:lnTo>
                  <a:pt x="7133189" y="37934"/>
                </a:lnTo>
                <a:cubicBezTo>
                  <a:pt x="7196165" y="161665"/>
                  <a:pt x="7320847" y="284761"/>
                  <a:pt x="7567673" y="284761"/>
                </a:cubicBezTo>
                <a:lnTo>
                  <a:pt x="11271651" y="284761"/>
                </a:lnTo>
                <a:lnTo>
                  <a:pt x="11271651" y="2292367"/>
                </a:lnTo>
                <a:lnTo>
                  <a:pt x="3360838" y="2292367"/>
                </a:lnTo>
                <a:cubicBezTo>
                  <a:pt x="3357507" y="2292367"/>
                  <a:pt x="3127793" y="2295282"/>
                  <a:pt x="3027059" y="2473692"/>
                </a:cubicBezTo>
                <a:lnTo>
                  <a:pt x="2997435" y="2549580"/>
                </a:lnTo>
                <a:lnTo>
                  <a:pt x="1257522" y="2549580"/>
                </a:lnTo>
                <a:cubicBezTo>
                  <a:pt x="1257522" y="2549580"/>
                  <a:pt x="0" y="2549580"/>
                  <a:pt x="0" y="1291940"/>
                </a:cubicBezTo>
                <a:lnTo>
                  <a:pt x="0" y="1257641"/>
                </a:lnTo>
                <a:cubicBezTo>
                  <a:pt x="0" y="1257641"/>
                  <a:pt x="0" y="0"/>
                  <a:pt x="125752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ru-RU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13074BE4-153F-46FE-B915-CD1AEF318A25}"/>
              </a:ext>
            </a:extLst>
          </p:cNvPr>
          <p:cNvSpPr/>
          <p:nvPr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Graphic 12">
            <a:extLst>
              <a:ext uri="{FF2B5EF4-FFF2-40B4-BE49-F238E27FC236}">
                <a16:creationId xmlns:a16="http://schemas.microsoft.com/office/drawing/2014/main" id="{0B7E91C4-F19E-46BE-B05F-139B5418924E}"/>
              </a:ext>
            </a:extLst>
          </p:cNvPr>
          <p:cNvSpPr/>
          <p:nvPr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8A64499-0304-4070-BCB0-67E2BE20A3EA}"/>
              </a:ext>
            </a:extLst>
          </p:cNvPr>
          <p:cNvSpPr/>
          <p:nvPr/>
        </p:nvSpPr>
        <p:spPr>
          <a:xfrm>
            <a:off x="7998821" y="1645349"/>
            <a:ext cx="4196737" cy="1001638"/>
          </a:xfrm>
          <a:custGeom>
            <a:avLst/>
            <a:gdLst>
              <a:gd name="connsiteX0" fmla="*/ 3150394 w 3152775"/>
              <a:gd name="connsiteY0" fmla="*/ 7144 h 752475"/>
              <a:gd name="connsiteX1" fmla="*/ 371952 w 3152775"/>
              <a:gd name="connsiteY1" fmla="*/ 7144 h 752475"/>
              <a:gd name="connsiteX2" fmla="*/ 7144 w 3152775"/>
              <a:gd name="connsiteY2" fmla="*/ 370999 h 752475"/>
              <a:gd name="connsiteX3" fmla="*/ 7144 w 3152775"/>
              <a:gd name="connsiteY3" fmla="*/ 384334 h 752475"/>
              <a:gd name="connsiteX4" fmla="*/ 371952 w 3152775"/>
              <a:gd name="connsiteY4" fmla="*/ 748189 h 752475"/>
              <a:gd name="connsiteX5" fmla="*/ 3150394 w 3152775"/>
              <a:gd name="connsiteY5" fmla="*/ 748189 h 752475"/>
              <a:gd name="connsiteX6" fmla="*/ 3150394 w 3152775"/>
              <a:gd name="connsiteY6" fmla="*/ 7144 h 75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2775" h="752475">
                <a:moveTo>
                  <a:pt x="3150394" y="7144"/>
                </a:moveTo>
                <a:lnTo>
                  <a:pt x="371952" y="7144"/>
                </a:lnTo>
                <a:cubicBezTo>
                  <a:pt x="371952" y="7144"/>
                  <a:pt x="7144" y="7144"/>
                  <a:pt x="7144" y="370999"/>
                </a:cubicBezTo>
                <a:lnTo>
                  <a:pt x="7144" y="384334"/>
                </a:lnTo>
                <a:cubicBezTo>
                  <a:pt x="7144" y="384334"/>
                  <a:pt x="7144" y="748189"/>
                  <a:pt x="371952" y="748189"/>
                </a:cubicBezTo>
                <a:lnTo>
                  <a:pt x="3150394" y="748189"/>
                </a:lnTo>
                <a:lnTo>
                  <a:pt x="3150394" y="7144"/>
                </a:lnTo>
                <a:close/>
              </a:path>
            </a:pathLst>
          </a:custGeom>
          <a:solidFill>
            <a:schemeClr val="accent1"/>
          </a:solidFill>
          <a:ln w="254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D1736B3-AE79-40C2-80FF-2FB0FEE27195}"/>
              </a:ext>
            </a:extLst>
          </p:cNvPr>
          <p:cNvSpPr/>
          <p:nvPr/>
        </p:nvSpPr>
        <p:spPr>
          <a:xfrm>
            <a:off x="12186920" y="2632655"/>
            <a:ext cx="5081" cy="25381"/>
          </a:xfrm>
          <a:custGeom>
            <a:avLst/>
            <a:gdLst>
              <a:gd name="connsiteX0" fmla="*/ 0 w 5081"/>
              <a:gd name="connsiteY0" fmla="*/ 0 h 25381"/>
              <a:gd name="connsiteX1" fmla="*/ 5081 w 5081"/>
              <a:gd name="connsiteY1" fmla="*/ 0 h 25381"/>
              <a:gd name="connsiteX2" fmla="*/ 5081 w 5081"/>
              <a:gd name="connsiteY2" fmla="*/ 25381 h 25381"/>
              <a:gd name="connsiteX3" fmla="*/ 0 w 5081"/>
              <a:gd name="connsiteY3" fmla="*/ 25381 h 25381"/>
              <a:gd name="connsiteX4" fmla="*/ 0 w 5081"/>
              <a:gd name="connsiteY4" fmla="*/ 0 h 25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81" h="25381">
                <a:moveTo>
                  <a:pt x="0" y="0"/>
                </a:moveTo>
                <a:lnTo>
                  <a:pt x="5081" y="0"/>
                </a:lnTo>
                <a:lnTo>
                  <a:pt x="5081" y="25381"/>
                </a:lnTo>
                <a:lnTo>
                  <a:pt x="0" y="25381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69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2228EE-3546-4272-9C39-150FF23CE0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81987" y="793172"/>
            <a:ext cx="9144000" cy="655621"/>
          </a:xfrm>
        </p:spPr>
        <p:txBody>
          <a:bodyPr anchor="b">
            <a:normAutofit/>
          </a:bodyPr>
          <a:lstStyle>
            <a:lvl1pPr algn="l">
              <a:defRPr sz="4000" b="1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DIVIDER SLIDE</a:t>
            </a:r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F2EFCC6-4D5A-4B43-A534-1A868887BC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5772" y="1877051"/>
            <a:ext cx="6843278" cy="496223"/>
          </a:xfrm>
        </p:spPr>
        <p:txBody>
          <a:bodyPr>
            <a:normAutofit/>
          </a:bodyPr>
          <a:lstStyle>
            <a:lvl1pPr marL="0" indent="0" algn="l">
              <a:buNone/>
              <a:defRPr sz="1800" b="1" i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D10BB4-D57E-4372-8E10-AC15DC0961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205F7-811A-4606-AC7E-593528945A21}" type="datetimeFigureOut">
              <a:rPr lang="en-GB" smtClean="0"/>
              <a:t>11/1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020939-F172-405E-A418-A87CE5D908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3808348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24" name="Graphic 22">
            <a:extLst>
              <a:ext uri="{FF2B5EF4-FFF2-40B4-BE49-F238E27FC236}">
                <a16:creationId xmlns:a16="http://schemas.microsoft.com/office/drawing/2014/main" id="{4EE1436E-33B5-4388-87D8-2D0633CC3CE7}"/>
              </a:ext>
            </a:extLst>
          </p:cNvPr>
          <p:cNvSpPr/>
          <p:nvPr/>
        </p:nvSpPr>
        <p:spPr>
          <a:xfrm>
            <a:off x="903223" y="1550951"/>
            <a:ext cx="3273552" cy="151200"/>
          </a:xfrm>
          <a:custGeom>
            <a:avLst/>
            <a:gdLst>
              <a:gd name="connsiteX0" fmla="*/ 2392204 w 2447925"/>
              <a:gd name="connsiteY0" fmla="*/ 114776 h 114300"/>
              <a:gd name="connsiteX1" fmla="*/ 60484 w 2447925"/>
              <a:gd name="connsiteY1" fmla="*/ 114776 h 114300"/>
              <a:gd name="connsiteX2" fmla="*/ 7144 w 2447925"/>
              <a:gd name="connsiteY2" fmla="*/ 60484 h 114300"/>
              <a:gd name="connsiteX3" fmla="*/ 7144 w 2447925"/>
              <a:gd name="connsiteY3" fmla="*/ 60484 h 114300"/>
              <a:gd name="connsiteX4" fmla="*/ 60484 w 2447925"/>
              <a:gd name="connsiteY4" fmla="*/ 7144 h 114300"/>
              <a:gd name="connsiteX5" fmla="*/ 2392204 w 2447925"/>
              <a:gd name="connsiteY5" fmla="*/ 7144 h 114300"/>
              <a:gd name="connsiteX6" fmla="*/ 2445544 w 2447925"/>
              <a:gd name="connsiteY6" fmla="*/ 60484 h 114300"/>
              <a:gd name="connsiteX7" fmla="*/ 2445544 w 2447925"/>
              <a:gd name="connsiteY7" fmla="*/ 60484 h 114300"/>
              <a:gd name="connsiteX8" fmla="*/ 2392204 w 2447925"/>
              <a:gd name="connsiteY8" fmla="*/ 114776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47925" h="114300">
                <a:moveTo>
                  <a:pt x="2392204" y="114776"/>
                </a:moveTo>
                <a:lnTo>
                  <a:pt x="60484" y="114776"/>
                </a:lnTo>
                <a:cubicBezTo>
                  <a:pt x="30956" y="114776"/>
                  <a:pt x="7144" y="90011"/>
                  <a:pt x="7144" y="60484"/>
                </a:cubicBezTo>
                <a:lnTo>
                  <a:pt x="7144" y="60484"/>
                </a:lnTo>
                <a:cubicBezTo>
                  <a:pt x="7144" y="30956"/>
                  <a:pt x="30956" y="7144"/>
                  <a:pt x="60484" y="7144"/>
                </a:cubicBezTo>
                <a:lnTo>
                  <a:pt x="2392204" y="7144"/>
                </a:lnTo>
                <a:cubicBezTo>
                  <a:pt x="2421731" y="7144"/>
                  <a:pt x="2445544" y="30956"/>
                  <a:pt x="2445544" y="60484"/>
                </a:cubicBezTo>
                <a:lnTo>
                  <a:pt x="2445544" y="60484"/>
                </a:lnTo>
                <a:cubicBezTo>
                  <a:pt x="2445544" y="90011"/>
                  <a:pt x="2421731" y="114776"/>
                  <a:pt x="2392204" y="114776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8FB11AB-3031-47CA-85DD-696856C3C62C}"/>
              </a:ext>
            </a:extLst>
          </p:cNvPr>
          <p:cNvSpPr/>
          <p:nvPr/>
        </p:nvSpPr>
        <p:spPr>
          <a:xfrm>
            <a:off x="3899957" y="4662943"/>
            <a:ext cx="8292043" cy="760738"/>
          </a:xfrm>
          <a:custGeom>
            <a:avLst/>
            <a:gdLst>
              <a:gd name="connsiteX0" fmla="*/ 6228874 w 6229350"/>
              <a:gd name="connsiteY0" fmla="*/ 7144 h 571500"/>
              <a:gd name="connsiteX1" fmla="*/ 284321 w 6229350"/>
              <a:gd name="connsiteY1" fmla="*/ 7144 h 571500"/>
              <a:gd name="connsiteX2" fmla="*/ 7144 w 6229350"/>
              <a:gd name="connsiteY2" fmla="*/ 282416 h 571500"/>
              <a:gd name="connsiteX3" fmla="*/ 7144 w 6229350"/>
              <a:gd name="connsiteY3" fmla="*/ 292894 h 571500"/>
              <a:gd name="connsiteX4" fmla="*/ 284321 w 6229350"/>
              <a:gd name="connsiteY4" fmla="*/ 568166 h 571500"/>
              <a:gd name="connsiteX5" fmla="*/ 6228874 w 6229350"/>
              <a:gd name="connsiteY5" fmla="*/ 568166 h 571500"/>
              <a:gd name="connsiteX6" fmla="*/ 6228874 w 6229350"/>
              <a:gd name="connsiteY6" fmla="*/ 7144 h 57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29350" h="571500">
                <a:moveTo>
                  <a:pt x="6228874" y="7144"/>
                </a:moveTo>
                <a:lnTo>
                  <a:pt x="284321" y="7144"/>
                </a:lnTo>
                <a:cubicBezTo>
                  <a:pt x="284321" y="7144"/>
                  <a:pt x="7144" y="7144"/>
                  <a:pt x="7144" y="282416"/>
                </a:cubicBezTo>
                <a:lnTo>
                  <a:pt x="7144" y="292894"/>
                </a:lnTo>
                <a:cubicBezTo>
                  <a:pt x="7144" y="292894"/>
                  <a:pt x="7144" y="568166"/>
                  <a:pt x="284321" y="568166"/>
                </a:cubicBezTo>
                <a:lnTo>
                  <a:pt x="6228874" y="568166"/>
                </a:lnTo>
                <a:lnTo>
                  <a:pt x="6228874" y="7144"/>
                </a:lnTo>
                <a:close/>
              </a:path>
            </a:pathLst>
          </a:custGeom>
          <a:solidFill>
            <a:schemeClr val="accent3"/>
          </a:solidFill>
          <a:ln w="254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210624-61F8-48B2-BD00-D3BC39DEB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757CD-3B46-4C63-B887-90DD93699826}" type="slidenum">
              <a:rPr lang="en-GB" smtClean="0"/>
              <a:t>‹#›</a:t>
            </a:fld>
            <a:endParaRPr lang="en-GB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9CD6F167-FB82-4EFB-BAB9-1D0FEE07B85D}"/>
              </a:ext>
            </a:extLst>
          </p:cNvPr>
          <p:cNvSpPr/>
          <p:nvPr/>
        </p:nvSpPr>
        <p:spPr>
          <a:xfrm>
            <a:off x="3909848" y="4665641"/>
            <a:ext cx="8277071" cy="257213"/>
          </a:xfrm>
          <a:custGeom>
            <a:avLst/>
            <a:gdLst>
              <a:gd name="connsiteX0" fmla="*/ 363403 w 8277071"/>
              <a:gd name="connsiteY0" fmla="*/ 0 h 257213"/>
              <a:gd name="connsiteX1" fmla="*/ 8277071 w 8277071"/>
              <a:gd name="connsiteY1" fmla="*/ 0 h 257213"/>
              <a:gd name="connsiteX2" fmla="*/ 8277071 w 8277071"/>
              <a:gd name="connsiteY2" fmla="*/ 25380 h 257213"/>
              <a:gd name="connsiteX3" fmla="*/ 363403 w 8277071"/>
              <a:gd name="connsiteY3" fmla="*/ 25380 h 257213"/>
              <a:gd name="connsiteX4" fmla="*/ 61632 w 8277071"/>
              <a:gd name="connsiteY4" fmla="*/ 176355 h 257213"/>
              <a:gd name="connsiteX5" fmla="*/ 25441 w 8277071"/>
              <a:gd name="connsiteY5" fmla="*/ 257213 h 257213"/>
              <a:gd name="connsiteX6" fmla="*/ 0 w 8277071"/>
              <a:gd name="connsiteY6" fmla="*/ 257213 h 257213"/>
              <a:gd name="connsiteX7" fmla="*/ 29624 w 8277071"/>
              <a:gd name="connsiteY7" fmla="*/ 181325 h 257213"/>
              <a:gd name="connsiteX8" fmla="*/ 363403 w 8277071"/>
              <a:gd name="connsiteY8" fmla="*/ 0 h 257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77071" h="257213">
                <a:moveTo>
                  <a:pt x="363403" y="0"/>
                </a:moveTo>
                <a:lnTo>
                  <a:pt x="8277071" y="0"/>
                </a:lnTo>
                <a:lnTo>
                  <a:pt x="8277071" y="25380"/>
                </a:lnTo>
                <a:lnTo>
                  <a:pt x="363403" y="25380"/>
                </a:lnTo>
                <a:cubicBezTo>
                  <a:pt x="352934" y="25380"/>
                  <a:pt x="158297" y="28235"/>
                  <a:pt x="61632" y="176355"/>
                </a:cubicBezTo>
                <a:lnTo>
                  <a:pt x="25441" y="257213"/>
                </a:lnTo>
                <a:lnTo>
                  <a:pt x="0" y="257213"/>
                </a:lnTo>
                <a:lnTo>
                  <a:pt x="29624" y="181325"/>
                </a:lnTo>
                <a:cubicBezTo>
                  <a:pt x="130358" y="2915"/>
                  <a:pt x="360072" y="0"/>
                  <a:pt x="363403" y="0"/>
                </a:cubicBezTo>
                <a:close/>
              </a:path>
            </a:pathLst>
          </a:custGeom>
          <a:solidFill>
            <a:schemeClr val="bg1"/>
          </a:solidFill>
          <a:ln w="1269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3DD2082D-81A7-4E2D-8136-9D48016E7FE9}"/>
              </a:ext>
            </a:extLst>
          </p:cNvPr>
          <p:cNvSpPr/>
          <p:nvPr/>
        </p:nvSpPr>
        <p:spPr>
          <a:xfrm>
            <a:off x="12186919" y="4665641"/>
            <a:ext cx="5081" cy="25380"/>
          </a:xfrm>
          <a:custGeom>
            <a:avLst/>
            <a:gdLst>
              <a:gd name="connsiteX0" fmla="*/ 0 w 5081"/>
              <a:gd name="connsiteY0" fmla="*/ 0 h 25380"/>
              <a:gd name="connsiteX1" fmla="*/ 5081 w 5081"/>
              <a:gd name="connsiteY1" fmla="*/ 0 h 25380"/>
              <a:gd name="connsiteX2" fmla="*/ 5081 w 5081"/>
              <a:gd name="connsiteY2" fmla="*/ 25380 h 25380"/>
              <a:gd name="connsiteX3" fmla="*/ 0 w 5081"/>
              <a:gd name="connsiteY3" fmla="*/ 25380 h 25380"/>
              <a:gd name="connsiteX4" fmla="*/ 0 w 5081"/>
              <a:gd name="connsiteY4" fmla="*/ 0 h 25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81" h="25380">
                <a:moveTo>
                  <a:pt x="0" y="0"/>
                </a:moveTo>
                <a:lnTo>
                  <a:pt x="5081" y="0"/>
                </a:lnTo>
                <a:lnTo>
                  <a:pt x="5081" y="25380"/>
                </a:lnTo>
                <a:lnTo>
                  <a:pt x="0" y="2538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69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CF16C35-4A81-4062-808C-7697AF0FD6F5}"/>
              </a:ext>
            </a:extLst>
          </p:cNvPr>
          <p:cNvSpPr/>
          <p:nvPr/>
        </p:nvSpPr>
        <p:spPr>
          <a:xfrm>
            <a:off x="3905233" y="4922854"/>
            <a:ext cx="8286767" cy="513089"/>
          </a:xfrm>
          <a:custGeom>
            <a:avLst/>
            <a:gdLst>
              <a:gd name="connsiteX0" fmla="*/ 4615 w 8286767"/>
              <a:gd name="connsiteY0" fmla="*/ 0 h 513089"/>
              <a:gd name="connsiteX1" fmla="*/ 30056 w 8286767"/>
              <a:gd name="connsiteY1" fmla="*/ 0 h 513089"/>
              <a:gd name="connsiteX2" fmla="*/ 27385 w 8286767"/>
              <a:gd name="connsiteY2" fmla="*/ 5967 h 513089"/>
              <a:gd name="connsiteX3" fmla="*/ 12690 w 8286767"/>
              <a:gd name="connsiteY3" fmla="*/ 120958 h 513089"/>
              <a:gd name="connsiteX4" fmla="*/ 12690 w 8286767"/>
              <a:gd name="connsiteY4" fmla="*/ 134918 h 513089"/>
              <a:gd name="connsiteX5" fmla="*/ 368018 w 8286767"/>
              <a:gd name="connsiteY5" fmla="*/ 488977 h 513089"/>
              <a:gd name="connsiteX6" fmla="*/ 8286767 w 8286767"/>
              <a:gd name="connsiteY6" fmla="*/ 488977 h 513089"/>
              <a:gd name="connsiteX7" fmla="*/ 8286767 w 8286767"/>
              <a:gd name="connsiteY7" fmla="*/ 513089 h 513089"/>
              <a:gd name="connsiteX8" fmla="*/ 368018 w 8286767"/>
              <a:gd name="connsiteY8" fmla="*/ 513089 h 513089"/>
              <a:gd name="connsiteX9" fmla="*/ 0 w 8286767"/>
              <a:gd name="connsiteY9" fmla="*/ 225019 h 513089"/>
              <a:gd name="connsiteX10" fmla="*/ 0 w 8286767"/>
              <a:gd name="connsiteY10" fmla="*/ 11822 h 513089"/>
              <a:gd name="connsiteX11" fmla="*/ 4615 w 8286767"/>
              <a:gd name="connsiteY11" fmla="*/ 0 h 513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286767" h="513089">
                <a:moveTo>
                  <a:pt x="4615" y="0"/>
                </a:moveTo>
                <a:lnTo>
                  <a:pt x="30056" y="0"/>
                </a:lnTo>
                <a:lnTo>
                  <a:pt x="27385" y="5967"/>
                </a:lnTo>
                <a:cubicBezTo>
                  <a:pt x="18024" y="39383"/>
                  <a:pt x="12690" y="77494"/>
                  <a:pt x="12690" y="120958"/>
                </a:cubicBezTo>
                <a:lnTo>
                  <a:pt x="12690" y="134918"/>
                </a:lnTo>
                <a:cubicBezTo>
                  <a:pt x="12690" y="150146"/>
                  <a:pt x="17766" y="488977"/>
                  <a:pt x="368018" y="488977"/>
                </a:cubicBezTo>
                <a:lnTo>
                  <a:pt x="8286767" y="488977"/>
                </a:lnTo>
                <a:lnTo>
                  <a:pt x="8286767" y="513089"/>
                </a:lnTo>
                <a:lnTo>
                  <a:pt x="368018" y="513089"/>
                </a:lnTo>
                <a:cubicBezTo>
                  <a:pt x="110405" y="513089"/>
                  <a:pt x="26649" y="336694"/>
                  <a:pt x="0" y="225019"/>
                </a:cubicBezTo>
                <a:lnTo>
                  <a:pt x="0" y="11822"/>
                </a:lnTo>
                <a:lnTo>
                  <a:pt x="4615" y="0"/>
                </a:lnTo>
                <a:close/>
              </a:path>
            </a:pathLst>
          </a:custGeom>
          <a:solidFill>
            <a:schemeClr val="bg1"/>
          </a:solidFill>
          <a:ln w="1269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2049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41414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5A97CE06-9ECC-4438-8B22-B58B27F2B5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396781" y="0"/>
            <a:ext cx="3894833" cy="5656330"/>
          </a:xfrm>
          <a:custGeom>
            <a:avLst/>
            <a:gdLst>
              <a:gd name="connsiteX0" fmla="*/ 691654 w 3894833"/>
              <a:gd name="connsiteY0" fmla="*/ 0 h 5656330"/>
              <a:gd name="connsiteX1" fmla="*/ 925166 w 3894833"/>
              <a:gd name="connsiteY1" fmla="*/ 0 h 5656330"/>
              <a:gd name="connsiteX2" fmla="*/ 925166 w 3894833"/>
              <a:gd name="connsiteY2" fmla="*/ 1025424 h 5656330"/>
              <a:gd name="connsiteX3" fmla="*/ 1184060 w 3894833"/>
              <a:gd name="connsiteY3" fmla="*/ 1289394 h 5656330"/>
              <a:gd name="connsiteX4" fmla="*/ 1194212 w 3894833"/>
              <a:gd name="connsiteY4" fmla="*/ 1289394 h 5656330"/>
              <a:gd name="connsiteX5" fmla="*/ 1453107 w 3894833"/>
              <a:gd name="connsiteY5" fmla="*/ 1025424 h 5656330"/>
              <a:gd name="connsiteX6" fmla="*/ 1453107 w 3894833"/>
              <a:gd name="connsiteY6" fmla="*/ 0 h 5656330"/>
              <a:gd name="connsiteX7" fmla="*/ 3894833 w 3894833"/>
              <a:gd name="connsiteY7" fmla="*/ 0 h 5656330"/>
              <a:gd name="connsiteX8" fmla="*/ 3894833 w 3894833"/>
              <a:gd name="connsiteY8" fmla="*/ 3731122 h 5656330"/>
              <a:gd name="connsiteX9" fmla="*/ 2110494 w 3894833"/>
              <a:gd name="connsiteY9" fmla="*/ 5656330 h 5656330"/>
              <a:gd name="connsiteX10" fmla="*/ 1842717 w 3894833"/>
              <a:gd name="connsiteY10" fmla="*/ 5656330 h 5656330"/>
              <a:gd name="connsiteX11" fmla="*/ 0 w 3894833"/>
              <a:gd name="connsiteY11" fmla="*/ 3731122 h 5656330"/>
              <a:gd name="connsiteX12" fmla="*/ 0 w 3894833"/>
              <a:gd name="connsiteY12" fmla="*/ 2120572 h 5656330"/>
              <a:gd name="connsiteX13" fmla="*/ 7266 w 3894833"/>
              <a:gd name="connsiteY13" fmla="*/ 2123266 h 5656330"/>
              <a:gd name="connsiteX14" fmla="*/ 171328 w 3894833"/>
              <a:gd name="connsiteY14" fmla="*/ 2144761 h 5656330"/>
              <a:gd name="connsiteX15" fmla="*/ 189095 w 3894833"/>
              <a:gd name="connsiteY15" fmla="*/ 2144761 h 5656330"/>
              <a:gd name="connsiteX16" fmla="*/ 691654 w 3894833"/>
              <a:gd name="connsiteY16" fmla="*/ 1639663 h 5656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894833" h="5656330">
                <a:moveTo>
                  <a:pt x="691654" y="0"/>
                </a:moveTo>
                <a:lnTo>
                  <a:pt x="925166" y="0"/>
                </a:lnTo>
                <a:lnTo>
                  <a:pt x="925166" y="1025424"/>
                </a:lnTo>
                <a:cubicBezTo>
                  <a:pt x="925166" y="1025424"/>
                  <a:pt x="925166" y="1289394"/>
                  <a:pt x="1184060" y="1289394"/>
                </a:cubicBezTo>
                <a:lnTo>
                  <a:pt x="1194212" y="1289394"/>
                </a:lnTo>
                <a:cubicBezTo>
                  <a:pt x="1194212" y="1289394"/>
                  <a:pt x="1453107" y="1289394"/>
                  <a:pt x="1453107" y="1025424"/>
                </a:cubicBezTo>
                <a:lnTo>
                  <a:pt x="1453107" y="0"/>
                </a:lnTo>
                <a:lnTo>
                  <a:pt x="3894833" y="0"/>
                </a:lnTo>
                <a:lnTo>
                  <a:pt x="3894833" y="3731122"/>
                </a:lnTo>
                <a:cubicBezTo>
                  <a:pt x="3894833" y="3731122"/>
                  <a:pt x="3894833" y="5562417"/>
                  <a:pt x="2110494" y="5656330"/>
                </a:cubicBezTo>
                <a:lnTo>
                  <a:pt x="1842717" y="5656330"/>
                </a:lnTo>
                <a:cubicBezTo>
                  <a:pt x="1467066" y="5628410"/>
                  <a:pt x="0" y="5413934"/>
                  <a:pt x="0" y="3731122"/>
                </a:cubicBezTo>
                <a:lnTo>
                  <a:pt x="0" y="2120572"/>
                </a:lnTo>
                <a:lnTo>
                  <a:pt x="7266" y="2123266"/>
                </a:lnTo>
                <a:cubicBezTo>
                  <a:pt x="54929" y="2136948"/>
                  <a:pt x="109301" y="2144761"/>
                  <a:pt x="171328" y="2144761"/>
                </a:cubicBezTo>
                <a:lnTo>
                  <a:pt x="189095" y="2144761"/>
                </a:lnTo>
                <a:cubicBezTo>
                  <a:pt x="194172" y="2144761"/>
                  <a:pt x="691654" y="2138415"/>
                  <a:pt x="691654" y="1639663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ru-RU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E8B26E3-C9CA-4CFF-8221-19518F497FF4}"/>
              </a:ext>
            </a:extLst>
          </p:cNvPr>
          <p:cNvSpPr/>
          <p:nvPr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Graphic 12">
            <a:extLst>
              <a:ext uri="{FF2B5EF4-FFF2-40B4-BE49-F238E27FC236}">
                <a16:creationId xmlns:a16="http://schemas.microsoft.com/office/drawing/2014/main" id="{A9957602-C843-44E0-A93F-66AF5A6A0F0A}"/>
              </a:ext>
            </a:extLst>
          </p:cNvPr>
          <p:cNvSpPr/>
          <p:nvPr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42568A-7F20-40F2-9490-E3BC7466D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0023" y="908050"/>
            <a:ext cx="4503295" cy="78263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LAYOUT 02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6F89F8-3E24-406D-9C49-00E6E47E4A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205F7-811A-4606-AC7E-593528945A21}" type="datetimeFigureOut">
              <a:rPr lang="en-GB" smtClean="0"/>
              <a:t>11/1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92DBDA-ED00-4248-AC6D-0CE0B821B5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3908793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2B5F97-2F18-4EF2-9CBC-AAAB9FF4C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757CD-3B46-4C63-B887-90DD9369982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7492975F-6F5D-4157-A751-54BACCCF1800}"/>
              </a:ext>
            </a:extLst>
          </p:cNvPr>
          <p:cNvSpPr/>
          <p:nvPr/>
        </p:nvSpPr>
        <p:spPr>
          <a:xfrm>
            <a:off x="5492146" y="-12675"/>
            <a:ext cx="545708" cy="3819957"/>
          </a:xfrm>
          <a:custGeom>
            <a:avLst/>
            <a:gdLst>
              <a:gd name="connsiteX0" fmla="*/ 12675 w 545708"/>
              <a:gd name="connsiteY0" fmla="*/ 12675 h 3819957"/>
              <a:gd name="connsiteX1" fmla="*/ 12675 w 545708"/>
              <a:gd name="connsiteY1" fmla="*/ 3550894 h 3819957"/>
              <a:gd name="connsiteX2" fmla="*/ 271569 w 545708"/>
              <a:gd name="connsiteY2" fmla="*/ 3814865 h 3819957"/>
              <a:gd name="connsiteX3" fmla="*/ 281722 w 545708"/>
              <a:gd name="connsiteY3" fmla="*/ 3814865 h 3819957"/>
              <a:gd name="connsiteX4" fmla="*/ 540616 w 545708"/>
              <a:gd name="connsiteY4" fmla="*/ 3550894 h 3819957"/>
              <a:gd name="connsiteX5" fmla="*/ 540616 w 545708"/>
              <a:gd name="connsiteY5" fmla="*/ 12675 h 3819957"/>
              <a:gd name="connsiteX6" fmla="*/ 12675 w 545708"/>
              <a:gd name="connsiteY6" fmla="*/ 12675 h 38199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5708" h="3819957">
                <a:moveTo>
                  <a:pt x="12675" y="12675"/>
                </a:moveTo>
                <a:lnTo>
                  <a:pt x="12675" y="3550894"/>
                </a:lnTo>
                <a:cubicBezTo>
                  <a:pt x="12675" y="3550894"/>
                  <a:pt x="12675" y="3814865"/>
                  <a:pt x="271569" y="3814865"/>
                </a:cubicBezTo>
                <a:lnTo>
                  <a:pt x="281722" y="3814865"/>
                </a:lnTo>
                <a:cubicBezTo>
                  <a:pt x="281722" y="3814865"/>
                  <a:pt x="540616" y="3814865"/>
                  <a:pt x="540616" y="3550894"/>
                </a:cubicBezTo>
                <a:lnTo>
                  <a:pt x="540616" y="12675"/>
                </a:lnTo>
                <a:lnTo>
                  <a:pt x="12675" y="12675"/>
                </a:lnTo>
                <a:close/>
              </a:path>
            </a:pathLst>
          </a:custGeom>
          <a:solidFill>
            <a:schemeClr val="accent1"/>
          </a:solidFill>
          <a:ln w="12684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C50EDEB-35C1-4DED-A608-A0EAA8DE5404}"/>
              </a:ext>
            </a:extLst>
          </p:cNvPr>
          <p:cNvSpPr/>
          <p:nvPr/>
        </p:nvSpPr>
        <p:spPr>
          <a:xfrm>
            <a:off x="5479455" y="-12675"/>
            <a:ext cx="571090" cy="3832648"/>
          </a:xfrm>
          <a:custGeom>
            <a:avLst/>
            <a:gdLst>
              <a:gd name="connsiteX0" fmla="*/ 540616 w 571089"/>
              <a:gd name="connsiteY0" fmla="*/ 12675 h 3832648"/>
              <a:gd name="connsiteX1" fmla="*/ 540616 w 571089"/>
              <a:gd name="connsiteY1" fmla="*/ 3550894 h 3832648"/>
              <a:gd name="connsiteX2" fmla="*/ 294413 w 571089"/>
              <a:gd name="connsiteY2" fmla="*/ 3802174 h 3832648"/>
              <a:gd name="connsiteX3" fmla="*/ 284260 w 571089"/>
              <a:gd name="connsiteY3" fmla="*/ 3802174 h 3832648"/>
              <a:gd name="connsiteX4" fmla="*/ 38056 w 571089"/>
              <a:gd name="connsiteY4" fmla="*/ 3550894 h 3832648"/>
              <a:gd name="connsiteX5" fmla="*/ 38056 w 571089"/>
              <a:gd name="connsiteY5" fmla="*/ 12675 h 3832648"/>
              <a:gd name="connsiteX6" fmla="*/ 12675 w 571089"/>
              <a:gd name="connsiteY6" fmla="*/ 12675 h 3832648"/>
              <a:gd name="connsiteX7" fmla="*/ 12675 w 571089"/>
              <a:gd name="connsiteY7" fmla="*/ 3550894 h 3832648"/>
              <a:gd name="connsiteX8" fmla="*/ 284260 w 571089"/>
              <a:gd name="connsiteY8" fmla="*/ 3827556 h 3832648"/>
              <a:gd name="connsiteX9" fmla="*/ 294413 w 571089"/>
              <a:gd name="connsiteY9" fmla="*/ 3827556 h 3832648"/>
              <a:gd name="connsiteX10" fmla="*/ 565998 w 571089"/>
              <a:gd name="connsiteY10" fmla="*/ 3550894 h 3832648"/>
              <a:gd name="connsiteX11" fmla="*/ 565998 w 571089"/>
              <a:gd name="connsiteY11" fmla="*/ 12675 h 3832648"/>
              <a:gd name="connsiteX12" fmla="*/ 540616 w 571089"/>
              <a:gd name="connsiteY12" fmla="*/ 12675 h 3832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71089" h="3832648">
                <a:moveTo>
                  <a:pt x="540616" y="12675"/>
                </a:moveTo>
                <a:lnTo>
                  <a:pt x="540616" y="3550894"/>
                </a:lnTo>
                <a:cubicBezTo>
                  <a:pt x="540616" y="3798367"/>
                  <a:pt x="304565" y="3802174"/>
                  <a:pt x="294413" y="3802174"/>
                </a:cubicBezTo>
                <a:lnTo>
                  <a:pt x="284260" y="3802174"/>
                </a:lnTo>
                <a:cubicBezTo>
                  <a:pt x="41864" y="3802174"/>
                  <a:pt x="38056" y="3561047"/>
                  <a:pt x="38056" y="3550894"/>
                </a:cubicBezTo>
                <a:lnTo>
                  <a:pt x="38056" y="12675"/>
                </a:lnTo>
                <a:lnTo>
                  <a:pt x="12675" y="12675"/>
                </a:lnTo>
                <a:lnTo>
                  <a:pt x="12675" y="3550894"/>
                </a:lnTo>
                <a:cubicBezTo>
                  <a:pt x="12675" y="3553433"/>
                  <a:pt x="15213" y="3827556"/>
                  <a:pt x="284260" y="3827556"/>
                </a:cubicBezTo>
                <a:lnTo>
                  <a:pt x="294413" y="3827556"/>
                </a:lnTo>
                <a:cubicBezTo>
                  <a:pt x="296951" y="3827556"/>
                  <a:pt x="565998" y="3825017"/>
                  <a:pt x="565998" y="3550894"/>
                </a:cubicBezTo>
                <a:lnTo>
                  <a:pt x="565998" y="12675"/>
                </a:lnTo>
                <a:lnTo>
                  <a:pt x="540616" y="12675"/>
                </a:lnTo>
                <a:close/>
              </a:path>
            </a:pathLst>
          </a:custGeom>
          <a:solidFill>
            <a:schemeClr val="bg1"/>
          </a:solidFill>
          <a:ln w="12684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F469DEB5-CC79-4D71-8360-0B10B34244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10023" y="2050475"/>
            <a:ext cx="4548187" cy="639683"/>
          </a:xfrm>
        </p:spPr>
        <p:txBody>
          <a:bodyPr>
            <a:normAutofit/>
          </a:bodyPr>
          <a:lstStyle>
            <a:lvl1pPr marL="0" indent="0">
              <a:buNone/>
              <a:defRPr sz="1800" b="1" i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EE0722D-F13C-4FFB-9E31-CC024B92E6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10023" y="2839714"/>
            <a:ext cx="4548187" cy="2916952"/>
          </a:xfrm>
        </p:spPr>
        <p:txBody>
          <a:bodyPr>
            <a:normAutofit/>
          </a:bodyPr>
          <a:lstStyle>
            <a:lvl1pPr marL="180000" indent="-180000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Graphic 22">
            <a:extLst>
              <a:ext uri="{FF2B5EF4-FFF2-40B4-BE49-F238E27FC236}">
                <a16:creationId xmlns:a16="http://schemas.microsoft.com/office/drawing/2014/main" id="{827885C7-FA6F-4513-83BC-BEAD42F63D5B}"/>
              </a:ext>
            </a:extLst>
          </p:cNvPr>
          <p:cNvSpPr/>
          <p:nvPr/>
        </p:nvSpPr>
        <p:spPr>
          <a:xfrm>
            <a:off x="6981947" y="1726672"/>
            <a:ext cx="3785313" cy="165305"/>
          </a:xfrm>
          <a:custGeom>
            <a:avLst/>
            <a:gdLst>
              <a:gd name="connsiteX0" fmla="*/ 3700149 w 3785313"/>
              <a:gd name="connsiteY0" fmla="*/ 162194 h 165304"/>
              <a:gd name="connsiteX1" fmla="*/ 92020 w 3785313"/>
              <a:gd name="connsiteY1" fmla="*/ 162194 h 165304"/>
              <a:gd name="connsiteX2" fmla="*/ 14166 w 3785313"/>
              <a:gd name="connsiteY2" fmla="*/ 87171 h 165304"/>
              <a:gd name="connsiteX3" fmla="*/ 14166 w 3785313"/>
              <a:gd name="connsiteY3" fmla="*/ 87171 h 165304"/>
              <a:gd name="connsiteX4" fmla="*/ 92020 w 3785313"/>
              <a:gd name="connsiteY4" fmla="*/ 13420 h 165304"/>
              <a:gd name="connsiteX5" fmla="*/ 3698806 w 3785313"/>
              <a:gd name="connsiteY5" fmla="*/ 13420 h 165304"/>
              <a:gd name="connsiteX6" fmla="*/ 3776660 w 3785313"/>
              <a:gd name="connsiteY6" fmla="*/ 87171 h 165304"/>
              <a:gd name="connsiteX7" fmla="*/ 3776660 w 3785313"/>
              <a:gd name="connsiteY7" fmla="*/ 87171 h 165304"/>
              <a:gd name="connsiteX8" fmla="*/ 3700149 w 3785313"/>
              <a:gd name="connsiteY8" fmla="*/ 162194 h 165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85313" h="165304">
                <a:moveTo>
                  <a:pt x="3700149" y="162194"/>
                </a:moveTo>
                <a:lnTo>
                  <a:pt x="92020" y="162194"/>
                </a:lnTo>
                <a:cubicBezTo>
                  <a:pt x="49066" y="162194"/>
                  <a:pt x="14166" y="127861"/>
                  <a:pt x="14166" y="87171"/>
                </a:cubicBezTo>
                <a:lnTo>
                  <a:pt x="14166" y="87171"/>
                </a:lnTo>
                <a:cubicBezTo>
                  <a:pt x="14166" y="46481"/>
                  <a:pt x="49066" y="13420"/>
                  <a:pt x="92020" y="13420"/>
                </a:cubicBezTo>
                <a:lnTo>
                  <a:pt x="3698806" y="13420"/>
                </a:lnTo>
                <a:cubicBezTo>
                  <a:pt x="3741760" y="13420"/>
                  <a:pt x="3776660" y="46481"/>
                  <a:pt x="3776660" y="87171"/>
                </a:cubicBezTo>
                <a:lnTo>
                  <a:pt x="3776660" y="87171"/>
                </a:lnTo>
                <a:cubicBezTo>
                  <a:pt x="3778002" y="127861"/>
                  <a:pt x="3743102" y="162194"/>
                  <a:pt x="3700149" y="162194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1340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30961087-B677-45AC-8D02-FEE615D17609}"/>
              </a:ext>
            </a:extLst>
          </p:cNvPr>
          <p:cNvSpPr/>
          <p:nvPr/>
        </p:nvSpPr>
        <p:spPr>
          <a:xfrm>
            <a:off x="1069371" y="-12675"/>
            <a:ext cx="1002580" cy="2144760"/>
          </a:xfrm>
          <a:custGeom>
            <a:avLst/>
            <a:gdLst>
              <a:gd name="connsiteX0" fmla="*/ 12675 w 1002580"/>
              <a:gd name="connsiteY0" fmla="*/ 12675 h 2144760"/>
              <a:gd name="connsiteX1" fmla="*/ 12675 w 1002580"/>
              <a:gd name="connsiteY1" fmla="*/ 1652337 h 2144760"/>
              <a:gd name="connsiteX2" fmla="*/ 498736 w 1002580"/>
              <a:gd name="connsiteY2" fmla="*/ 2139668 h 2144760"/>
              <a:gd name="connsiteX3" fmla="*/ 516503 w 1002580"/>
              <a:gd name="connsiteY3" fmla="*/ 2139668 h 2144760"/>
              <a:gd name="connsiteX4" fmla="*/ 1002564 w 1002580"/>
              <a:gd name="connsiteY4" fmla="*/ 1652337 h 2144760"/>
              <a:gd name="connsiteX5" fmla="*/ 1002564 w 1002580"/>
              <a:gd name="connsiteY5" fmla="*/ 12675 h 2144760"/>
              <a:gd name="connsiteX6" fmla="*/ 12675 w 1002580"/>
              <a:gd name="connsiteY6" fmla="*/ 12675 h 2144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2580" h="2144760">
                <a:moveTo>
                  <a:pt x="12675" y="12675"/>
                </a:moveTo>
                <a:lnTo>
                  <a:pt x="12675" y="1652337"/>
                </a:lnTo>
                <a:cubicBezTo>
                  <a:pt x="12675" y="1652337"/>
                  <a:pt x="12675" y="2139668"/>
                  <a:pt x="498736" y="2139668"/>
                </a:cubicBezTo>
                <a:lnTo>
                  <a:pt x="516503" y="2139668"/>
                </a:lnTo>
                <a:cubicBezTo>
                  <a:pt x="516503" y="2139668"/>
                  <a:pt x="1002564" y="2139668"/>
                  <a:pt x="1002564" y="1652337"/>
                </a:cubicBezTo>
                <a:lnTo>
                  <a:pt x="1002564" y="12675"/>
                </a:lnTo>
                <a:lnTo>
                  <a:pt x="12675" y="12675"/>
                </a:lnTo>
                <a:close/>
              </a:path>
            </a:pathLst>
          </a:custGeom>
          <a:solidFill>
            <a:schemeClr val="accent3"/>
          </a:solidFill>
          <a:ln w="12684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49047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D6E0F90B-941A-45B6-85DA-E0D4E7977CD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771770" y="1483675"/>
            <a:ext cx="6421408" cy="3438427"/>
          </a:xfrm>
          <a:custGeom>
            <a:avLst/>
            <a:gdLst>
              <a:gd name="connsiteX0" fmla="*/ 1709168 w 6421408"/>
              <a:gd name="connsiteY0" fmla="*/ 0 h 3438427"/>
              <a:gd name="connsiteX1" fmla="*/ 6421408 w 6421408"/>
              <a:gd name="connsiteY1" fmla="*/ 0 h 3438427"/>
              <a:gd name="connsiteX2" fmla="*/ 6421408 w 6421408"/>
              <a:gd name="connsiteY2" fmla="*/ 280430 h 3438427"/>
              <a:gd name="connsiteX3" fmla="*/ 5507320 w 6421408"/>
              <a:gd name="connsiteY3" fmla="*/ 280430 h 3438427"/>
              <a:gd name="connsiteX4" fmla="*/ 5322477 w 6421408"/>
              <a:gd name="connsiteY4" fmla="*/ 461067 h 3438427"/>
              <a:gd name="connsiteX5" fmla="*/ 5322477 w 6421408"/>
              <a:gd name="connsiteY5" fmla="*/ 467384 h 3438427"/>
              <a:gd name="connsiteX6" fmla="*/ 5507320 w 6421408"/>
              <a:gd name="connsiteY6" fmla="*/ 648021 h 3438427"/>
              <a:gd name="connsiteX7" fmla="*/ 6421408 w 6421408"/>
              <a:gd name="connsiteY7" fmla="*/ 648021 h 3438427"/>
              <a:gd name="connsiteX8" fmla="*/ 6421408 w 6421408"/>
              <a:gd name="connsiteY8" fmla="*/ 2672927 h 3438427"/>
              <a:gd name="connsiteX9" fmla="*/ 4918005 w 6421408"/>
              <a:gd name="connsiteY9" fmla="*/ 2672927 h 3438427"/>
              <a:gd name="connsiteX10" fmla="*/ 4642006 w 6421408"/>
              <a:gd name="connsiteY10" fmla="*/ 2943252 h 3438427"/>
              <a:gd name="connsiteX11" fmla="*/ 4642006 w 6421408"/>
              <a:gd name="connsiteY11" fmla="*/ 2949569 h 3438427"/>
              <a:gd name="connsiteX12" fmla="*/ 3297460 w 6421408"/>
              <a:gd name="connsiteY12" fmla="*/ 2949569 h 3438427"/>
              <a:gd name="connsiteX13" fmla="*/ 2831554 w 6421408"/>
              <a:gd name="connsiteY13" fmla="*/ 3411899 h 3438427"/>
              <a:gd name="connsiteX14" fmla="*/ 2831554 w 6421408"/>
              <a:gd name="connsiteY14" fmla="*/ 3428320 h 3438427"/>
              <a:gd name="connsiteX15" fmla="*/ 2831723 w 6421408"/>
              <a:gd name="connsiteY15" fmla="*/ 3434345 h 3438427"/>
              <a:gd name="connsiteX16" fmla="*/ 2831976 w 6421408"/>
              <a:gd name="connsiteY16" fmla="*/ 3438427 h 3438427"/>
              <a:gd name="connsiteX17" fmla="*/ 1709168 w 6421408"/>
              <a:gd name="connsiteY17" fmla="*/ 3438427 h 3438427"/>
              <a:gd name="connsiteX18" fmla="*/ 0 w 6421408"/>
              <a:gd name="connsiteY18" fmla="*/ 1733109 h 3438427"/>
              <a:gd name="connsiteX19" fmla="*/ 0 w 6421408"/>
              <a:gd name="connsiteY19" fmla="*/ 1705319 h 3438427"/>
              <a:gd name="connsiteX20" fmla="*/ 1709168 w 6421408"/>
              <a:gd name="connsiteY20" fmla="*/ 0 h 3438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6421408" h="3438427">
                <a:moveTo>
                  <a:pt x="1709168" y="0"/>
                </a:moveTo>
                <a:lnTo>
                  <a:pt x="6421408" y="0"/>
                </a:lnTo>
                <a:lnTo>
                  <a:pt x="6421408" y="280430"/>
                </a:lnTo>
                <a:lnTo>
                  <a:pt x="5507320" y="280430"/>
                </a:lnTo>
                <a:cubicBezTo>
                  <a:pt x="5507320" y="280430"/>
                  <a:pt x="5322477" y="280430"/>
                  <a:pt x="5322477" y="461067"/>
                </a:cubicBezTo>
                <a:lnTo>
                  <a:pt x="5322477" y="467384"/>
                </a:lnTo>
                <a:cubicBezTo>
                  <a:pt x="5322477" y="467384"/>
                  <a:pt x="5322477" y="648021"/>
                  <a:pt x="5507320" y="648021"/>
                </a:cubicBezTo>
                <a:lnTo>
                  <a:pt x="6421408" y="648021"/>
                </a:lnTo>
                <a:lnTo>
                  <a:pt x="6421408" y="2672927"/>
                </a:lnTo>
                <a:lnTo>
                  <a:pt x="4918005" y="2672927"/>
                </a:lnTo>
                <a:cubicBezTo>
                  <a:pt x="4915473" y="2672927"/>
                  <a:pt x="4642006" y="2675454"/>
                  <a:pt x="4642006" y="2943252"/>
                </a:cubicBezTo>
                <a:lnTo>
                  <a:pt x="4642006" y="2949569"/>
                </a:lnTo>
                <a:lnTo>
                  <a:pt x="3297460" y="2949569"/>
                </a:lnTo>
                <a:cubicBezTo>
                  <a:pt x="3292396" y="2949569"/>
                  <a:pt x="2831554" y="2954621"/>
                  <a:pt x="2831554" y="3411899"/>
                </a:cubicBezTo>
                <a:lnTo>
                  <a:pt x="2831554" y="3428320"/>
                </a:lnTo>
                <a:cubicBezTo>
                  <a:pt x="2831554" y="3428636"/>
                  <a:pt x="2831574" y="3430718"/>
                  <a:pt x="2831723" y="3434345"/>
                </a:cubicBezTo>
                <a:lnTo>
                  <a:pt x="2831976" y="3438427"/>
                </a:lnTo>
                <a:lnTo>
                  <a:pt x="1709168" y="3438427"/>
                </a:lnTo>
                <a:cubicBezTo>
                  <a:pt x="1709168" y="3438427"/>
                  <a:pt x="0" y="3438427"/>
                  <a:pt x="0" y="1733109"/>
                </a:cubicBezTo>
                <a:lnTo>
                  <a:pt x="0" y="1705319"/>
                </a:lnTo>
                <a:cubicBezTo>
                  <a:pt x="0" y="1705319"/>
                  <a:pt x="0" y="0"/>
                  <a:pt x="1709168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ru-RU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7BC6DBB9-1B34-4374-A887-DC30F9E2F62F}"/>
              </a:ext>
            </a:extLst>
          </p:cNvPr>
          <p:cNvSpPr/>
          <p:nvPr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Graphic 12">
            <a:extLst>
              <a:ext uri="{FF2B5EF4-FFF2-40B4-BE49-F238E27FC236}">
                <a16:creationId xmlns:a16="http://schemas.microsoft.com/office/drawing/2014/main" id="{00DE0AE3-F44D-4F2C-B7A3-C253AA498DEF}"/>
              </a:ext>
            </a:extLst>
          </p:cNvPr>
          <p:cNvSpPr/>
          <p:nvPr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42568A-7F20-40F2-9490-E3BC7466D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853" y="1231900"/>
            <a:ext cx="4503295" cy="78263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LAYOUT 02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6F89F8-3E24-406D-9C49-00E6E47E4A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205F7-811A-4606-AC7E-593528945A21}" type="datetimeFigureOut">
              <a:rPr lang="en-GB" smtClean="0"/>
              <a:t>11/1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92DBDA-ED00-4248-AC6D-0CE0B821B5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3908793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2B5F97-2F18-4EF2-9CBC-AAAB9FF4C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757CD-3B46-4C63-B887-90DD93699826}" type="slidenum">
              <a:rPr lang="en-GB" smtClean="0"/>
              <a:t>‹#›</a:t>
            </a:fld>
            <a:endParaRPr lang="en-GB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82903A57-2768-42F8-A5EA-4C19B90498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67" y="3889184"/>
            <a:ext cx="4548187" cy="1708223"/>
          </a:xfrm>
        </p:spPr>
        <p:txBody>
          <a:bodyPr>
            <a:normAutofit/>
          </a:bodyPr>
          <a:lstStyle>
            <a:lvl1pPr marL="180000" indent="-180000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C6C05708-08C7-4EF1-B0D8-6A01C1B1AD85}"/>
              </a:ext>
            </a:extLst>
          </p:cNvPr>
          <p:cNvSpPr/>
          <p:nvPr/>
        </p:nvSpPr>
        <p:spPr>
          <a:xfrm>
            <a:off x="10413777" y="4433244"/>
            <a:ext cx="1782599" cy="30316"/>
          </a:xfrm>
          <a:custGeom>
            <a:avLst/>
            <a:gdLst>
              <a:gd name="connsiteX0" fmla="*/ 0 w 1782599"/>
              <a:gd name="connsiteY0" fmla="*/ 0 h 30316"/>
              <a:gd name="connsiteX1" fmla="*/ 1782599 w 1782599"/>
              <a:gd name="connsiteY1" fmla="*/ 0 h 30316"/>
              <a:gd name="connsiteX2" fmla="*/ 1782599 w 1782599"/>
              <a:gd name="connsiteY2" fmla="*/ 30316 h 30316"/>
              <a:gd name="connsiteX3" fmla="*/ 2488 w 1782599"/>
              <a:gd name="connsiteY3" fmla="*/ 30316 h 30316"/>
              <a:gd name="connsiteX4" fmla="*/ 643 w 1782599"/>
              <a:gd name="connsiteY4" fmla="*/ 16129 h 30316"/>
              <a:gd name="connsiteX5" fmla="*/ 0 w 1782599"/>
              <a:gd name="connsiteY5" fmla="*/ 3788 h 30316"/>
              <a:gd name="connsiteX6" fmla="*/ 0 w 1782599"/>
              <a:gd name="connsiteY6" fmla="*/ 0 h 30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82599" h="30316">
                <a:moveTo>
                  <a:pt x="0" y="0"/>
                </a:moveTo>
                <a:lnTo>
                  <a:pt x="1782599" y="0"/>
                </a:lnTo>
                <a:lnTo>
                  <a:pt x="1782599" y="30316"/>
                </a:lnTo>
                <a:lnTo>
                  <a:pt x="2488" y="30316"/>
                </a:lnTo>
                <a:lnTo>
                  <a:pt x="643" y="16129"/>
                </a:lnTo>
                <a:cubicBezTo>
                  <a:pt x="40" y="8565"/>
                  <a:pt x="0" y="4104"/>
                  <a:pt x="0" y="378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E46691B2-7AF3-4CAC-A285-36444A9101D9}"/>
              </a:ext>
            </a:extLst>
          </p:cNvPr>
          <p:cNvSpPr/>
          <p:nvPr/>
        </p:nvSpPr>
        <p:spPr>
          <a:xfrm>
            <a:off x="12193179" y="4156602"/>
            <a:ext cx="3197" cy="25264"/>
          </a:xfrm>
          <a:custGeom>
            <a:avLst/>
            <a:gdLst>
              <a:gd name="connsiteX0" fmla="*/ 0 w 3197"/>
              <a:gd name="connsiteY0" fmla="*/ 0 h 25264"/>
              <a:gd name="connsiteX1" fmla="*/ 3197 w 3197"/>
              <a:gd name="connsiteY1" fmla="*/ 0 h 25264"/>
              <a:gd name="connsiteX2" fmla="*/ 3197 w 3197"/>
              <a:gd name="connsiteY2" fmla="*/ 25264 h 25264"/>
              <a:gd name="connsiteX3" fmla="*/ 0 w 3197"/>
              <a:gd name="connsiteY3" fmla="*/ 25264 h 25264"/>
              <a:gd name="connsiteX4" fmla="*/ 0 w 3197"/>
              <a:gd name="connsiteY4" fmla="*/ 0 h 25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97" h="25264">
                <a:moveTo>
                  <a:pt x="0" y="0"/>
                </a:moveTo>
                <a:lnTo>
                  <a:pt x="3197" y="0"/>
                </a:lnTo>
                <a:lnTo>
                  <a:pt x="3197" y="25264"/>
                </a:lnTo>
                <a:lnTo>
                  <a:pt x="0" y="2526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FE8ACF66-A148-4D4F-A35C-837CDC6B154D}"/>
              </a:ext>
            </a:extLst>
          </p:cNvPr>
          <p:cNvSpPr/>
          <p:nvPr/>
        </p:nvSpPr>
        <p:spPr>
          <a:xfrm>
            <a:off x="12193179" y="4682093"/>
            <a:ext cx="3197" cy="25264"/>
          </a:xfrm>
          <a:custGeom>
            <a:avLst/>
            <a:gdLst>
              <a:gd name="connsiteX0" fmla="*/ 0 w 3197"/>
              <a:gd name="connsiteY0" fmla="*/ 0 h 25264"/>
              <a:gd name="connsiteX1" fmla="*/ 3197 w 3197"/>
              <a:gd name="connsiteY1" fmla="*/ 0 h 25264"/>
              <a:gd name="connsiteX2" fmla="*/ 3197 w 3197"/>
              <a:gd name="connsiteY2" fmla="*/ 25264 h 25264"/>
              <a:gd name="connsiteX3" fmla="*/ 0 w 3197"/>
              <a:gd name="connsiteY3" fmla="*/ 25264 h 25264"/>
              <a:gd name="connsiteX4" fmla="*/ 0 w 3197"/>
              <a:gd name="connsiteY4" fmla="*/ 0 h 25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97" h="25264">
                <a:moveTo>
                  <a:pt x="0" y="0"/>
                </a:moveTo>
                <a:lnTo>
                  <a:pt x="3197" y="0"/>
                </a:lnTo>
                <a:lnTo>
                  <a:pt x="3197" y="25264"/>
                </a:lnTo>
                <a:lnTo>
                  <a:pt x="0" y="2526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5F10B1F7-5633-4C8B-A868-72D9C782CBA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1115" y="2374900"/>
            <a:ext cx="4565650" cy="701675"/>
          </a:xfrm>
        </p:spPr>
        <p:txBody>
          <a:bodyPr>
            <a:noAutofit/>
          </a:bodyPr>
          <a:lstStyle>
            <a:lvl1pPr marL="0" indent="0">
              <a:buNone/>
              <a:defRPr sz="1800" b="1" i="0"/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29">
            <a:extLst>
              <a:ext uri="{FF2B5EF4-FFF2-40B4-BE49-F238E27FC236}">
                <a16:creationId xmlns:a16="http://schemas.microsoft.com/office/drawing/2014/main" id="{CBA9BCD0-48BA-4D5B-8871-61204EACE4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1115" y="3165301"/>
            <a:ext cx="4583113" cy="689525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400" indent="0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Graphic 33">
            <a:extLst>
              <a:ext uri="{FF2B5EF4-FFF2-40B4-BE49-F238E27FC236}">
                <a16:creationId xmlns:a16="http://schemas.microsoft.com/office/drawing/2014/main" id="{38956B41-4EE0-4C7C-8436-027F5DE8B1BC}"/>
              </a:ext>
            </a:extLst>
          </p:cNvPr>
          <p:cNvSpPr/>
          <p:nvPr/>
        </p:nvSpPr>
        <p:spPr>
          <a:xfrm>
            <a:off x="887582" y="2045662"/>
            <a:ext cx="3785313" cy="165305"/>
          </a:xfrm>
          <a:custGeom>
            <a:avLst/>
            <a:gdLst>
              <a:gd name="connsiteX0" fmla="*/ 3700149 w 3785313"/>
              <a:gd name="connsiteY0" fmla="*/ 162194 h 165304"/>
              <a:gd name="connsiteX1" fmla="*/ 92020 w 3785313"/>
              <a:gd name="connsiteY1" fmla="*/ 162194 h 165304"/>
              <a:gd name="connsiteX2" fmla="*/ 14166 w 3785313"/>
              <a:gd name="connsiteY2" fmla="*/ 87171 h 165304"/>
              <a:gd name="connsiteX3" fmla="*/ 14166 w 3785313"/>
              <a:gd name="connsiteY3" fmla="*/ 87171 h 165304"/>
              <a:gd name="connsiteX4" fmla="*/ 92020 w 3785313"/>
              <a:gd name="connsiteY4" fmla="*/ 13420 h 165304"/>
              <a:gd name="connsiteX5" fmla="*/ 3698806 w 3785313"/>
              <a:gd name="connsiteY5" fmla="*/ 13420 h 165304"/>
              <a:gd name="connsiteX6" fmla="*/ 3776660 w 3785313"/>
              <a:gd name="connsiteY6" fmla="*/ 87171 h 165304"/>
              <a:gd name="connsiteX7" fmla="*/ 3776660 w 3785313"/>
              <a:gd name="connsiteY7" fmla="*/ 87171 h 165304"/>
              <a:gd name="connsiteX8" fmla="*/ 3700149 w 3785313"/>
              <a:gd name="connsiteY8" fmla="*/ 162194 h 165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85313" h="165304">
                <a:moveTo>
                  <a:pt x="3700149" y="162194"/>
                </a:moveTo>
                <a:lnTo>
                  <a:pt x="92020" y="162194"/>
                </a:lnTo>
                <a:cubicBezTo>
                  <a:pt x="49066" y="162194"/>
                  <a:pt x="14166" y="127861"/>
                  <a:pt x="14166" y="87171"/>
                </a:cubicBezTo>
                <a:lnTo>
                  <a:pt x="14166" y="87171"/>
                </a:lnTo>
                <a:cubicBezTo>
                  <a:pt x="14166" y="46481"/>
                  <a:pt x="49066" y="13420"/>
                  <a:pt x="92020" y="13420"/>
                </a:cubicBezTo>
                <a:lnTo>
                  <a:pt x="3698806" y="13420"/>
                </a:lnTo>
                <a:cubicBezTo>
                  <a:pt x="3741760" y="13420"/>
                  <a:pt x="3776660" y="46481"/>
                  <a:pt x="3776660" y="87171"/>
                </a:cubicBezTo>
                <a:lnTo>
                  <a:pt x="3776660" y="87171"/>
                </a:lnTo>
                <a:cubicBezTo>
                  <a:pt x="3778002" y="127861"/>
                  <a:pt x="3743102" y="162194"/>
                  <a:pt x="3700149" y="162194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1340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E08687FC-7322-4F20-9769-1ECF4296A96E}"/>
              </a:ext>
            </a:extLst>
          </p:cNvPr>
          <p:cNvSpPr/>
          <p:nvPr/>
        </p:nvSpPr>
        <p:spPr>
          <a:xfrm>
            <a:off x="10416941" y="4161024"/>
            <a:ext cx="1785131" cy="543175"/>
          </a:xfrm>
          <a:custGeom>
            <a:avLst/>
            <a:gdLst>
              <a:gd name="connsiteX0" fmla="*/ 1338739 w 1343025"/>
              <a:gd name="connsiteY0" fmla="*/ 7144 h 409575"/>
              <a:gd name="connsiteX1" fmla="*/ 205264 w 1343025"/>
              <a:gd name="connsiteY1" fmla="*/ 7144 h 409575"/>
              <a:gd name="connsiteX2" fmla="*/ 7144 w 1343025"/>
              <a:gd name="connsiteY2" fmla="*/ 201454 h 409575"/>
              <a:gd name="connsiteX3" fmla="*/ 7144 w 1343025"/>
              <a:gd name="connsiteY3" fmla="*/ 209074 h 409575"/>
              <a:gd name="connsiteX4" fmla="*/ 205264 w 1343025"/>
              <a:gd name="connsiteY4" fmla="*/ 403384 h 409575"/>
              <a:gd name="connsiteX5" fmla="*/ 1338739 w 1343025"/>
              <a:gd name="connsiteY5" fmla="*/ 403384 h 409575"/>
              <a:gd name="connsiteX6" fmla="*/ 1338739 w 1343025"/>
              <a:gd name="connsiteY6" fmla="*/ 7144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43025" h="409575">
                <a:moveTo>
                  <a:pt x="1338739" y="7144"/>
                </a:moveTo>
                <a:lnTo>
                  <a:pt x="205264" y="7144"/>
                </a:lnTo>
                <a:cubicBezTo>
                  <a:pt x="205264" y="7144"/>
                  <a:pt x="7144" y="7144"/>
                  <a:pt x="7144" y="201454"/>
                </a:cubicBezTo>
                <a:lnTo>
                  <a:pt x="7144" y="209074"/>
                </a:lnTo>
                <a:cubicBezTo>
                  <a:pt x="7144" y="209074"/>
                  <a:pt x="7144" y="403384"/>
                  <a:pt x="205264" y="403384"/>
                </a:cubicBezTo>
                <a:lnTo>
                  <a:pt x="1338739" y="403384"/>
                </a:lnTo>
                <a:lnTo>
                  <a:pt x="1338739" y="7144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0FCCDE26-7222-4C1B-884A-0FAE84FA57DB}"/>
              </a:ext>
            </a:extLst>
          </p:cNvPr>
          <p:cNvSpPr/>
          <p:nvPr/>
        </p:nvSpPr>
        <p:spPr>
          <a:xfrm>
            <a:off x="8607090" y="4437664"/>
            <a:ext cx="3595584" cy="922135"/>
          </a:xfrm>
          <a:custGeom>
            <a:avLst/>
            <a:gdLst>
              <a:gd name="connsiteX0" fmla="*/ 2697957 w 2705100"/>
              <a:gd name="connsiteY0" fmla="*/ 7144 h 695325"/>
              <a:gd name="connsiteX1" fmla="*/ 345281 w 2705100"/>
              <a:gd name="connsiteY1" fmla="*/ 7144 h 695325"/>
              <a:gd name="connsiteX2" fmla="*/ 7144 w 2705100"/>
              <a:gd name="connsiteY2" fmla="*/ 344329 h 695325"/>
              <a:gd name="connsiteX3" fmla="*/ 7144 w 2705100"/>
              <a:gd name="connsiteY3" fmla="*/ 356711 h 695325"/>
              <a:gd name="connsiteX4" fmla="*/ 345281 w 2705100"/>
              <a:gd name="connsiteY4" fmla="*/ 693896 h 695325"/>
              <a:gd name="connsiteX5" fmla="*/ 2697957 w 2705100"/>
              <a:gd name="connsiteY5" fmla="*/ 693896 h 695325"/>
              <a:gd name="connsiteX6" fmla="*/ 2697957 w 2705100"/>
              <a:gd name="connsiteY6" fmla="*/ 7144 h 695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05100" h="695325">
                <a:moveTo>
                  <a:pt x="2697957" y="7144"/>
                </a:moveTo>
                <a:lnTo>
                  <a:pt x="345281" y="7144"/>
                </a:lnTo>
                <a:cubicBezTo>
                  <a:pt x="345281" y="7144"/>
                  <a:pt x="7144" y="7144"/>
                  <a:pt x="7144" y="344329"/>
                </a:cubicBezTo>
                <a:lnTo>
                  <a:pt x="7144" y="356711"/>
                </a:lnTo>
                <a:cubicBezTo>
                  <a:pt x="7144" y="356711"/>
                  <a:pt x="7144" y="693896"/>
                  <a:pt x="345281" y="693896"/>
                </a:cubicBezTo>
                <a:lnTo>
                  <a:pt x="2697957" y="693896"/>
                </a:lnTo>
                <a:lnTo>
                  <a:pt x="2697957" y="7144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83285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Oval 47">
            <a:extLst>
              <a:ext uri="{FF2B5EF4-FFF2-40B4-BE49-F238E27FC236}">
                <a16:creationId xmlns:a16="http://schemas.microsoft.com/office/drawing/2014/main" id="{6F44C9A9-0E74-4918-9B66-273196D2956C}"/>
              </a:ext>
            </a:extLst>
          </p:cNvPr>
          <p:cNvSpPr/>
          <p:nvPr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Graphic 12">
            <a:extLst>
              <a:ext uri="{FF2B5EF4-FFF2-40B4-BE49-F238E27FC236}">
                <a16:creationId xmlns:a16="http://schemas.microsoft.com/office/drawing/2014/main" id="{4FD74D9D-1BEE-4A13-ABAA-5FBA5C4D1BFA}"/>
              </a:ext>
            </a:extLst>
          </p:cNvPr>
          <p:cNvSpPr/>
          <p:nvPr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053F33-9837-4E9F-8D29-24A800D841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781050"/>
            <a:ext cx="10515600" cy="676275"/>
          </a:xfrm>
        </p:spPr>
        <p:txBody>
          <a:bodyPr anchor="b">
            <a:normAutofit/>
          </a:bodyPr>
          <a:lstStyle>
            <a:lvl1pPr algn="ctr">
              <a:defRPr sz="4000"/>
            </a:lvl1pPr>
          </a:lstStyle>
          <a:p>
            <a:r>
              <a:rPr lang="en-US"/>
              <a:t>COMPARISON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DFDBBD-D278-4F5A-BD28-172F5B157E8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93286" y="2959593"/>
            <a:ext cx="4183650" cy="365125"/>
          </a:xfrm>
        </p:spPr>
        <p:txBody>
          <a:bodyPr>
            <a:normAutofit/>
          </a:bodyPr>
          <a:lstStyle>
            <a:lvl1pPr marL="0" indent="0">
              <a:buNone/>
              <a:defRPr sz="2500" b="1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ECTION 1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2A0631-3130-4C36-8E5E-80464B1A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205F7-811A-4606-AC7E-593528945A21}" type="datetimeFigureOut">
              <a:rPr lang="en-GB" smtClean="0"/>
              <a:t>11/1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230F82-FE68-4450-98DF-5D29369AE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6603C1-6E1A-4E4B-9555-31D84B6BD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757CD-3B46-4C63-B887-90DD93699826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Text Placeholder 26">
            <a:extLst>
              <a:ext uri="{FF2B5EF4-FFF2-40B4-BE49-F238E27FC236}">
                <a16:creationId xmlns:a16="http://schemas.microsoft.com/office/drawing/2014/main" id="{C990C5BD-BC2C-4822-AA4E-446B77052F2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0066" y="1898650"/>
            <a:ext cx="10515599" cy="701675"/>
          </a:xfrm>
        </p:spPr>
        <p:txBody>
          <a:bodyPr>
            <a:noAutofit/>
          </a:bodyPr>
          <a:lstStyle>
            <a:lvl1pPr marL="0" indent="0" algn="ctr">
              <a:buNone/>
              <a:defRPr sz="1800" b="1" i="0"/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Graphic 19">
            <a:extLst>
              <a:ext uri="{FF2B5EF4-FFF2-40B4-BE49-F238E27FC236}">
                <a16:creationId xmlns:a16="http://schemas.microsoft.com/office/drawing/2014/main" id="{258EB2BC-F42B-4177-83EB-F2D2BF76129C}"/>
              </a:ext>
            </a:extLst>
          </p:cNvPr>
          <p:cNvSpPr/>
          <p:nvPr/>
        </p:nvSpPr>
        <p:spPr>
          <a:xfrm>
            <a:off x="3019044" y="1583026"/>
            <a:ext cx="6153912" cy="151200"/>
          </a:xfrm>
          <a:custGeom>
            <a:avLst/>
            <a:gdLst>
              <a:gd name="connsiteX0" fmla="*/ 4568666 w 4629150"/>
              <a:gd name="connsiteY0" fmla="*/ 118586 h 123825"/>
              <a:gd name="connsiteX1" fmla="*/ 62389 w 4629150"/>
              <a:gd name="connsiteY1" fmla="*/ 118586 h 123825"/>
              <a:gd name="connsiteX2" fmla="*/ 7144 w 4629150"/>
              <a:gd name="connsiteY2" fmla="*/ 62389 h 123825"/>
              <a:gd name="connsiteX3" fmla="*/ 7144 w 4629150"/>
              <a:gd name="connsiteY3" fmla="*/ 62389 h 123825"/>
              <a:gd name="connsiteX4" fmla="*/ 62389 w 4629150"/>
              <a:gd name="connsiteY4" fmla="*/ 7144 h 123825"/>
              <a:gd name="connsiteX5" fmla="*/ 4568666 w 4629150"/>
              <a:gd name="connsiteY5" fmla="*/ 7144 h 123825"/>
              <a:gd name="connsiteX6" fmla="*/ 4623912 w 4629150"/>
              <a:gd name="connsiteY6" fmla="*/ 62389 h 123825"/>
              <a:gd name="connsiteX7" fmla="*/ 4623912 w 4629150"/>
              <a:gd name="connsiteY7" fmla="*/ 62389 h 123825"/>
              <a:gd name="connsiteX8" fmla="*/ 4568666 w 4629150"/>
              <a:gd name="connsiteY8" fmla="*/ 118586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29150" h="123825">
                <a:moveTo>
                  <a:pt x="4568666" y="118586"/>
                </a:moveTo>
                <a:lnTo>
                  <a:pt x="62389" y="118586"/>
                </a:lnTo>
                <a:cubicBezTo>
                  <a:pt x="31909" y="118586"/>
                  <a:pt x="7144" y="92869"/>
                  <a:pt x="7144" y="62389"/>
                </a:cubicBezTo>
                <a:lnTo>
                  <a:pt x="7144" y="62389"/>
                </a:lnTo>
                <a:cubicBezTo>
                  <a:pt x="7144" y="31909"/>
                  <a:pt x="31909" y="7144"/>
                  <a:pt x="62389" y="7144"/>
                </a:cubicBezTo>
                <a:lnTo>
                  <a:pt x="4568666" y="7144"/>
                </a:lnTo>
                <a:cubicBezTo>
                  <a:pt x="4599147" y="7144"/>
                  <a:pt x="4623912" y="31909"/>
                  <a:pt x="4623912" y="62389"/>
                </a:cubicBezTo>
                <a:lnTo>
                  <a:pt x="4623912" y="62389"/>
                </a:lnTo>
                <a:cubicBezTo>
                  <a:pt x="4623912" y="92869"/>
                  <a:pt x="4599147" y="118586"/>
                  <a:pt x="4568666" y="118586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971AAD9-2660-4922-9B41-C45976A31C4F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155960" y="2959593"/>
            <a:ext cx="4183650" cy="365125"/>
          </a:xfrm>
        </p:spPr>
        <p:txBody>
          <a:bodyPr>
            <a:normAutofit/>
          </a:bodyPr>
          <a:lstStyle>
            <a:lvl1pPr marL="0" indent="0">
              <a:buNone/>
              <a:defRPr sz="2500" b="1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ECTION 2 TITLE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D0525F80-1CD7-406E-A2B0-ACB0CD78A32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1311" y="3294245"/>
            <a:ext cx="4365625" cy="2333625"/>
          </a:xfrm>
        </p:spPr>
        <p:txBody>
          <a:bodyPr>
            <a:normAutofit/>
          </a:bodyPr>
          <a:lstStyle>
            <a:lvl1pPr marL="180000" indent="-180000">
              <a:spcBef>
                <a:spcPts val="600"/>
              </a:spcBef>
              <a:buClr>
                <a:schemeClr val="accent3"/>
              </a:buClr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6">
            <a:extLst>
              <a:ext uri="{FF2B5EF4-FFF2-40B4-BE49-F238E27FC236}">
                <a16:creationId xmlns:a16="http://schemas.microsoft.com/office/drawing/2014/main" id="{527B617A-AB11-44E9-B2E2-53B7F35CD9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973985" y="3294245"/>
            <a:ext cx="4365625" cy="2333625"/>
          </a:xfrm>
        </p:spPr>
        <p:txBody>
          <a:bodyPr>
            <a:normAutofit/>
          </a:bodyPr>
          <a:lstStyle>
            <a:lvl1pPr marL="180000" indent="-180000">
              <a:spcBef>
                <a:spcPts val="600"/>
              </a:spcBef>
              <a:buClr>
                <a:schemeClr val="accent3"/>
              </a:buClr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1" name="Graphic 39">
            <a:extLst>
              <a:ext uri="{FF2B5EF4-FFF2-40B4-BE49-F238E27FC236}">
                <a16:creationId xmlns:a16="http://schemas.microsoft.com/office/drawing/2014/main" id="{F4C9083C-573A-4951-8064-8A2074E45857}"/>
              </a:ext>
            </a:extLst>
          </p:cNvPr>
          <p:cNvGrpSpPr/>
          <p:nvPr/>
        </p:nvGrpSpPr>
        <p:grpSpPr>
          <a:xfrm>
            <a:off x="10008352" y="0"/>
            <a:ext cx="2188800" cy="1933794"/>
            <a:chOff x="10003200" y="0"/>
            <a:chExt cx="2188800" cy="1933794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24D028E-B0C2-46BA-B6A7-734B26FEA989}"/>
                </a:ext>
              </a:extLst>
            </p:cNvPr>
            <p:cNvSpPr/>
            <p:nvPr/>
          </p:nvSpPr>
          <p:spPr>
            <a:xfrm>
              <a:off x="10712341" y="-7969"/>
              <a:ext cx="1466283" cy="1009398"/>
            </a:xfrm>
            <a:custGeom>
              <a:avLst/>
              <a:gdLst>
                <a:gd name="connsiteX0" fmla="*/ 1467972 w 1466283"/>
                <a:gd name="connsiteY0" fmla="*/ 752798 h 1009397"/>
                <a:gd name="connsiteX1" fmla="*/ 1221466 w 1466283"/>
                <a:gd name="connsiteY1" fmla="*/ 871801 h 1009397"/>
                <a:gd name="connsiteX2" fmla="*/ 425635 w 1466283"/>
                <a:gd name="connsiteY2" fmla="*/ 821862 h 1009397"/>
                <a:gd name="connsiteX3" fmla="*/ 158942 w 1466283"/>
                <a:gd name="connsiteY3" fmla="*/ 510543 h 1009397"/>
                <a:gd name="connsiteX4" fmla="*/ 145129 w 1466283"/>
                <a:gd name="connsiteY4" fmla="*/ 482917 h 1009397"/>
                <a:gd name="connsiteX5" fmla="*/ 52689 w 1466283"/>
                <a:gd name="connsiteY5" fmla="*/ 7969 h 1009397"/>
                <a:gd name="connsiteX6" fmla="*/ 14439 w 1466283"/>
                <a:gd name="connsiteY6" fmla="*/ 7969 h 1009397"/>
                <a:gd name="connsiteX7" fmla="*/ 111128 w 1466283"/>
                <a:gd name="connsiteY7" fmla="*/ 499918 h 1009397"/>
                <a:gd name="connsiteX8" fmla="*/ 124941 w 1466283"/>
                <a:gd name="connsiteY8" fmla="*/ 527543 h 1009397"/>
                <a:gd name="connsiteX9" fmla="*/ 402260 w 1466283"/>
                <a:gd name="connsiteY9" fmla="*/ 851613 h 1009397"/>
                <a:gd name="connsiteX10" fmla="*/ 845333 w 1466283"/>
                <a:gd name="connsiteY10" fmla="*/ 1004617 h 1009397"/>
                <a:gd name="connsiteX11" fmla="*/ 1238467 w 1466283"/>
                <a:gd name="connsiteY11" fmla="*/ 906864 h 1009397"/>
                <a:gd name="connsiteX12" fmla="*/ 1467972 w 1466283"/>
                <a:gd name="connsiteY12" fmla="*/ 795299 h 1009397"/>
                <a:gd name="connsiteX13" fmla="*/ 1467972 w 1466283"/>
                <a:gd name="connsiteY13" fmla="*/ 752798 h 1009397"/>
                <a:gd name="connsiteX14" fmla="*/ 1467972 w 1466283"/>
                <a:gd name="connsiteY14" fmla="*/ 752798 h 1009397"/>
                <a:gd name="connsiteX15" fmla="*/ 1467972 w 1466283"/>
                <a:gd name="connsiteY15" fmla="*/ 752798 h 100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66283" h="1009397">
                  <a:moveTo>
                    <a:pt x="1467972" y="752798"/>
                  </a:moveTo>
                  <a:lnTo>
                    <a:pt x="1221466" y="871801"/>
                  </a:lnTo>
                  <a:cubicBezTo>
                    <a:pt x="928209" y="1015242"/>
                    <a:pt x="660453" y="997179"/>
                    <a:pt x="425635" y="821862"/>
                  </a:cubicBezTo>
                  <a:cubicBezTo>
                    <a:pt x="250319" y="689047"/>
                    <a:pt x="158942" y="512668"/>
                    <a:pt x="158942" y="510543"/>
                  </a:cubicBezTo>
                  <a:lnTo>
                    <a:pt x="145129" y="482917"/>
                  </a:lnTo>
                  <a:cubicBezTo>
                    <a:pt x="61190" y="315038"/>
                    <a:pt x="29314" y="155660"/>
                    <a:pt x="52689" y="7969"/>
                  </a:cubicBezTo>
                  <a:lnTo>
                    <a:pt x="14439" y="7969"/>
                  </a:lnTo>
                  <a:cubicBezTo>
                    <a:pt x="-6812" y="163097"/>
                    <a:pt x="24001" y="327789"/>
                    <a:pt x="111128" y="499918"/>
                  </a:cubicBezTo>
                  <a:lnTo>
                    <a:pt x="124941" y="527543"/>
                  </a:lnTo>
                  <a:cubicBezTo>
                    <a:pt x="129191" y="534981"/>
                    <a:pt x="219506" y="714548"/>
                    <a:pt x="402260" y="851613"/>
                  </a:cubicBezTo>
                  <a:cubicBezTo>
                    <a:pt x="508512" y="931302"/>
                    <a:pt x="656203" y="1004617"/>
                    <a:pt x="845333" y="1004617"/>
                  </a:cubicBezTo>
                  <a:cubicBezTo>
                    <a:pt x="961148" y="1004617"/>
                    <a:pt x="1091838" y="976991"/>
                    <a:pt x="1238467" y="906864"/>
                  </a:cubicBezTo>
                  <a:lnTo>
                    <a:pt x="1467972" y="795299"/>
                  </a:lnTo>
                  <a:lnTo>
                    <a:pt x="1467972" y="752798"/>
                  </a:lnTo>
                  <a:lnTo>
                    <a:pt x="1467972" y="752798"/>
                  </a:lnTo>
                  <a:lnTo>
                    <a:pt x="1467972" y="75279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1FD2C3DF-070C-48BB-8EC1-3FE31FCD20DC}"/>
                </a:ext>
              </a:extLst>
            </p:cNvPr>
            <p:cNvSpPr/>
            <p:nvPr/>
          </p:nvSpPr>
          <p:spPr>
            <a:xfrm>
              <a:off x="10014209" y="321414"/>
              <a:ext cx="2178175" cy="1593786"/>
            </a:xfrm>
            <a:custGeom>
              <a:avLst/>
              <a:gdLst>
                <a:gd name="connsiteX0" fmla="*/ 231247 w 2178174"/>
                <a:gd name="connsiteY0" fmla="*/ 950428 h 1593786"/>
                <a:gd name="connsiteX1" fmla="*/ 45305 w 2178174"/>
                <a:gd name="connsiteY1" fmla="*/ 1404126 h 1593786"/>
                <a:gd name="connsiteX2" fmla="*/ 50617 w 2178174"/>
                <a:gd name="connsiteY2" fmla="*/ 1415814 h 1593786"/>
                <a:gd name="connsiteX3" fmla="*/ 529816 w 2178174"/>
                <a:gd name="connsiteY3" fmla="*/ 1547566 h 1593786"/>
                <a:gd name="connsiteX4" fmla="*/ 2173541 w 2178174"/>
                <a:gd name="connsiteY4" fmla="*/ 749611 h 1593786"/>
                <a:gd name="connsiteX5" fmla="*/ 2173541 w 2178174"/>
                <a:gd name="connsiteY5" fmla="*/ 7969 h 1593786"/>
                <a:gd name="connsiteX6" fmla="*/ 231247 w 2178174"/>
                <a:gd name="connsiteY6" fmla="*/ 950428 h 1593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8174" h="1593786">
                  <a:moveTo>
                    <a:pt x="231247" y="950428"/>
                  </a:moveTo>
                  <a:cubicBezTo>
                    <a:pt x="231247" y="950428"/>
                    <a:pt x="-101324" y="1111932"/>
                    <a:pt x="45305" y="1404126"/>
                  </a:cubicBezTo>
                  <a:lnTo>
                    <a:pt x="50617" y="1415814"/>
                  </a:lnTo>
                  <a:cubicBezTo>
                    <a:pt x="50617" y="1415814"/>
                    <a:pt x="197246" y="1708008"/>
                    <a:pt x="529816" y="1547566"/>
                  </a:cubicBezTo>
                  <a:lnTo>
                    <a:pt x="2173541" y="749611"/>
                  </a:lnTo>
                  <a:lnTo>
                    <a:pt x="2173541" y="7969"/>
                  </a:lnTo>
                  <a:lnTo>
                    <a:pt x="231247" y="950428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503CC8C-61AD-4DAB-B26E-509EA44669D4}"/>
                </a:ext>
              </a:extLst>
            </p:cNvPr>
            <p:cNvSpPr/>
            <p:nvPr/>
          </p:nvSpPr>
          <p:spPr>
            <a:xfrm>
              <a:off x="10732016" y="-7969"/>
              <a:ext cx="1455658" cy="839394"/>
            </a:xfrm>
            <a:custGeom>
              <a:avLst/>
              <a:gdLst>
                <a:gd name="connsiteX0" fmla="*/ 123329 w 1455658"/>
                <a:gd name="connsiteY0" fmla="*/ 521168 h 839394"/>
                <a:gd name="connsiteX1" fmla="*/ 390022 w 1455658"/>
                <a:gd name="connsiteY1" fmla="*/ 834613 h 839394"/>
                <a:gd name="connsiteX2" fmla="*/ 1455734 w 1455658"/>
                <a:gd name="connsiteY2" fmla="*/ 317163 h 839394"/>
                <a:gd name="connsiteX3" fmla="*/ 1456797 w 1455658"/>
                <a:gd name="connsiteY3" fmla="*/ 7969 h 839394"/>
                <a:gd name="connsiteX4" fmla="*/ 14951 w 1455658"/>
                <a:gd name="connsiteY4" fmla="*/ 7969 h 839394"/>
                <a:gd name="connsiteX5" fmla="*/ 109516 w 1455658"/>
                <a:gd name="connsiteY5" fmla="*/ 493543 h 839394"/>
                <a:gd name="connsiteX6" fmla="*/ 123329 w 1455658"/>
                <a:gd name="connsiteY6" fmla="*/ 521168 h 83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5658" h="839394">
                  <a:moveTo>
                    <a:pt x="123329" y="521168"/>
                  </a:moveTo>
                  <a:cubicBezTo>
                    <a:pt x="123329" y="521168"/>
                    <a:pt x="212581" y="698610"/>
                    <a:pt x="390022" y="834613"/>
                  </a:cubicBezTo>
                  <a:lnTo>
                    <a:pt x="1455734" y="317163"/>
                  </a:lnTo>
                  <a:lnTo>
                    <a:pt x="1456797" y="7969"/>
                  </a:lnTo>
                  <a:lnTo>
                    <a:pt x="14951" y="7969"/>
                  </a:lnTo>
                  <a:cubicBezTo>
                    <a:pt x="-5237" y="145035"/>
                    <a:pt x="16014" y="307601"/>
                    <a:pt x="109516" y="493543"/>
                  </a:cubicBezTo>
                  <a:lnTo>
                    <a:pt x="123329" y="521168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BB58BBD-BF4B-44A6-A2C8-AF1BE81D516E}"/>
                </a:ext>
              </a:extLst>
            </p:cNvPr>
            <p:cNvSpPr/>
            <p:nvPr/>
          </p:nvSpPr>
          <p:spPr>
            <a:xfrm>
              <a:off x="11124635" y="1146995"/>
              <a:ext cx="1062524" cy="743767"/>
            </a:xfrm>
            <a:custGeom>
              <a:avLst/>
              <a:gdLst>
                <a:gd name="connsiteX0" fmla="*/ 1064178 w 1062524"/>
                <a:gd name="connsiteY0" fmla="*/ 7969 h 743766"/>
                <a:gd name="connsiteX1" fmla="*/ 91968 w 1062524"/>
                <a:gd name="connsiteY1" fmla="*/ 480792 h 743766"/>
                <a:gd name="connsiteX2" fmla="*/ 22904 w 1062524"/>
                <a:gd name="connsiteY2" fmla="*/ 658234 h 743766"/>
                <a:gd name="connsiteX3" fmla="*/ 25029 w 1062524"/>
                <a:gd name="connsiteY3" fmla="*/ 663546 h 743766"/>
                <a:gd name="connsiteX4" fmla="*/ 209908 w 1062524"/>
                <a:gd name="connsiteY4" fmla="*/ 718798 h 743766"/>
                <a:gd name="connsiteX5" fmla="*/ 1064178 w 1062524"/>
                <a:gd name="connsiteY5" fmla="*/ 302288 h 743766"/>
                <a:gd name="connsiteX6" fmla="*/ 1064178 w 1062524"/>
                <a:gd name="connsiteY6" fmla="*/ 7969 h 743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2524" h="743766">
                  <a:moveTo>
                    <a:pt x="1064178" y="7969"/>
                  </a:moveTo>
                  <a:lnTo>
                    <a:pt x="91968" y="480792"/>
                  </a:lnTo>
                  <a:cubicBezTo>
                    <a:pt x="91968" y="480792"/>
                    <a:pt x="-34472" y="543481"/>
                    <a:pt x="22904" y="658234"/>
                  </a:cubicBezTo>
                  <a:lnTo>
                    <a:pt x="25029" y="663546"/>
                  </a:lnTo>
                  <a:cubicBezTo>
                    <a:pt x="25029" y="663546"/>
                    <a:pt x="82405" y="780424"/>
                    <a:pt x="209908" y="718798"/>
                  </a:cubicBezTo>
                  <a:lnTo>
                    <a:pt x="1064178" y="302288"/>
                  </a:lnTo>
                  <a:lnTo>
                    <a:pt x="1064178" y="7969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602EAB3F-89ED-4532-AC15-8D6D0DE40EEB}"/>
                </a:ext>
              </a:extLst>
            </p:cNvPr>
            <p:cNvSpPr/>
            <p:nvPr/>
          </p:nvSpPr>
          <p:spPr>
            <a:xfrm>
              <a:off x="11105057" y="1128932"/>
              <a:ext cx="1083775" cy="775643"/>
            </a:xfrm>
            <a:custGeom>
              <a:avLst/>
              <a:gdLst>
                <a:gd name="connsiteX0" fmla="*/ 219924 w 1083774"/>
                <a:gd name="connsiteY0" fmla="*/ 719860 h 775642"/>
                <a:gd name="connsiteX1" fmla="*/ 60545 w 1083774"/>
                <a:gd name="connsiteY1" fmla="*/ 674172 h 775642"/>
                <a:gd name="connsiteX2" fmla="*/ 58420 w 1083774"/>
                <a:gd name="connsiteY2" fmla="*/ 668859 h 775642"/>
                <a:gd name="connsiteX3" fmla="*/ 118984 w 1083774"/>
                <a:gd name="connsiteY3" fmla="*/ 515856 h 775642"/>
                <a:gd name="connsiteX4" fmla="*/ 1083756 w 1083774"/>
                <a:gd name="connsiteY4" fmla="*/ 48345 h 775642"/>
                <a:gd name="connsiteX5" fmla="*/ 1083756 w 1083774"/>
                <a:gd name="connsiteY5" fmla="*/ 7969 h 775642"/>
                <a:gd name="connsiteX6" fmla="*/ 103046 w 1083774"/>
                <a:gd name="connsiteY6" fmla="*/ 482917 h 775642"/>
                <a:gd name="connsiteX7" fmla="*/ 14856 w 1083774"/>
                <a:gd name="connsiteY7" fmla="*/ 578544 h 775642"/>
                <a:gd name="connsiteX8" fmla="*/ 24419 w 1083774"/>
                <a:gd name="connsiteY8" fmla="*/ 686922 h 775642"/>
                <a:gd name="connsiteX9" fmla="*/ 26544 w 1083774"/>
                <a:gd name="connsiteY9" fmla="*/ 692234 h 775642"/>
                <a:gd name="connsiteX10" fmla="*/ 157235 w 1083774"/>
                <a:gd name="connsiteY10" fmla="*/ 775111 h 775642"/>
                <a:gd name="connsiteX11" fmla="*/ 236924 w 1083774"/>
                <a:gd name="connsiteY11" fmla="*/ 754923 h 775642"/>
                <a:gd name="connsiteX12" fmla="*/ 1083756 w 1083774"/>
                <a:gd name="connsiteY12" fmla="*/ 344789 h 775642"/>
                <a:gd name="connsiteX13" fmla="*/ 1083756 w 1083774"/>
                <a:gd name="connsiteY13" fmla="*/ 301226 h 775642"/>
                <a:gd name="connsiteX14" fmla="*/ 219924 w 1083774"/>
                <a:gd name="connsiteY14" fmla="*/ 719860 h 77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83774" h="775642">
                  <a:moveTo>
                    <a:pt x="219924" y="719860"/>
                  </a:moveTo>
                  <a:cubicBezTo>
                    <a:pt x="112609" y="771924"/>
                    <a:pt x="65858" y="683734"/>
                    <a:pt x="60545" y="674172"/>
                  </a:cubicBezTo>
                  <a:lnTo>
                    <a:pt x="58420" y="668859"/>
                  </a:lnTo>
                  <a:cubicBezTo>
                    <a:pt x="9544" y="571107"/>
                    <a:pt x="114734" y="519043"/>
                    <a:pt x="118984" y="515856"/>
                  </a:cubicBezTo>
                  <a:lnTo>
                    <a:pt x="1083756" y="48345"/>
                  </a:lnTo>
                  <a:lnTo>
                    <a:pt x="1083756" y="7969"/>
                  </a:lnTo>
                  <a:lnTo>
                    <a:pt x="103046" y="482917"/>
                  </a:lnTo>
                  <a:cubicBezTo>
                    <a:pt x="100921" y="483980"/>
                    <a:pt x="36107" y="516918"/>
                    <a:pt x="14856" y="578544"/>
                  </a:cubicBezTo>
                  <a:cubicBezTo>
                    <a:pt x="3169" y="613608"/>
                    <a:pt x="6356" y="649733"/>
                    <a:pt x="24419" y="686922"/>
                  </a:cubicBezTo>
                  <a:lnTo>
                    <a:pt x="26544" y="692234"/>
                  </a:lnTo>
                  <a:cubicBezTo>
                    <a:pt x="44607" y="726235"/>
                    <a:pt x="88171" y="775111"/>
                    <a:pt x="157235" y="775111"/>
                  </a:cubicBezTo>
                  <a:cubicBezTo>
                    <a:pt x="180610" y="775111"/>
                    <a:pt x="207173" y="768736"/>
                    <a:pt x="236924" y="754923"/>
                  </a:cubicBezTo>
                  <a:lnTo>
                    <a:pt x="1083756" y="344789"/>
                  </a:lnTo>
                  <a:lnTo>
                    <a:pt x="1083756" y="301226"/>
                  </a:lnTo>
                  <a:lnTo>
                    <a:pt x="219924" y="71986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14D3737-C4D1-46DE-A197-29A638CA1F30}"/>
                </a:ext>
              </a:extLst>
            </p:cNvPr>
            <p:cNvSpPr/>
            <p:nvPr/>
          </p:nvSpPr>
          <p:spPr>
            <a:xfrm>
              <a:off x="9994666" y="301226"/>
              <a:ext cx="2199425" cy="1636287"/>
            </a:xfrm>
            <a:custGeom>
              <a:avLst/>
              <a:gdLst>
                <a:gd name="connsiteX0" fmla="*/ 538733 w 2199425"/>
                <a:gd name="connsiteY0" fmla="*/ 1550754 h 1636287"/>
                <a:gd name="connsiteX1" fmla="*/ 86098 w 2199425"/>
                <a:gd name="connsiteY1" fmla="*/ 1428564 h 1636287"/>
                <a:gd name="connsiteX2" fmla="*/ 80785 w 2199425"/>
                <a:gd name="connsiteY2" fmla="*/ 1416876 h 1636287"/>
                <a:gd name="connsiteX3" fmla="*/ 115848 w 2199425"/>
                <a:gd name="connsiteY3" fmla="*/ 1102369 h 1636287"/>
                <a:gd name="connsiteX4" fmla="*/ 257164 w 2199425"/>
                <a:gd name="connsiteY4" fmla="*/ 988679 h 1636287"/>
                <a:gd name="connsiteX5" fmla="*/ 2193084 w 2199425"/>
                <a:gd name="connsiteY5" fmla="*/ 49407 h 1636287"/>
                <a:gd name="connsiteX6" fmla="*/ 2193084 w 2199425"/>
                <a:gd name="connsiteY6" fmla="*/ 7969 h 1636287"/>
                <a:gd name="connsiteX7" fmla="*/ 241226 w 2199425"/>
                <a:gd name="connsiteY7" fmla="*/ 954678 h 1636287"/>
                <a:gd name="connsiteX8" fmla="*/ 23409 w 2199425"/>
                <a:gd name="connsiteY8" fmla="*/ 1187371 h 1636287"/>
                <a:gd name="connsiteX9" fmla="*/ 47847 w 2199425"/>
                <a:gd name="connsiteY9" fmla="*/ 1433876 h 1636287"/>
                <a:gd name="connsiteX10" fmla="*/ 53160 w 2199425"/>
                <a:gd name="connsiteY10" fmla="*/ 1445564 h 1636287"/>
                <a:gd name="connsiteX11" fmla="*/ 358104 w 2199425"/>
                <a:gd name="connsiteY11" fmla="*/ 1635756 h 1636287"/>
                <a:gd name="connsiteX12" fmla="*/ 555734 w 2199425"/>
                <a:gd name="connsiteY12" fmla="*/ 1585817 h 1636287"/>
                <a:gd name="connsiteX13" fmla="*/ 2193084 w 2199425"/>
                <a:gd name="connsiteY13" fmla="*/ 789987 h 1636287"/>
                <a:gd name="connsiteX14" fmla="*/ 2193084 w 2199425"/>
                <a:gd name="connsiteY14" fmla="*/ 748548 h 1636287"/>
                <a:gd name="connsiteX15" fmla="*/ 538733 w 2199425"/>
                <a:gd name="connsiteY15" fmla="*/ 1550754 h 163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9425" h="1636287">
                  <a:moveTo>
                    <a:pt x="538733" y="1550754"/>
                  </a:moveTo>
                  <a:cubicBezTo>
                    <a:pt x="228476" y="1701633"/>
                    <a:pt x="90348" y="1439189"/>
                    <a:pt x="86098" y="1428564"/>
                  </a:cubicBezTo>
                  <a:lnTo>
                    <a:pt x="80785" y="1416876"/>
                  </a:lnTo>
                  <a:cubicBezTo>
                    <a:pt x="24471" y="1303186"/>
                    <a:pt x="35097" y="1196934"/>
                    <a:pt x="115848" y="1102369"/>
                  </a:cubicBezTo>
                  <a:cubicBezTo>
                    <a:pt x="176412" y="1030117"/>
                    <a:pt x="256102" y="989741"/>
                    <a:pt x="257164" y="988679"/>
                  </a:cubicBezTo>
                  <a:lnTo>
                    <a:pt x="2193084" y="49407"/>
                  </a:lnTo>
                  <a:lnTo>
                    <a:pt x="2193084" y="7969"/>
                  </a:lnTo>
                  <a:lnTo>
                    <a:pt x="241226" y="954678"/>
                  </a:lnTo>
                  <a:cubicBezTo>
                    <a:pt x="234851" y="958928"/>
                    <a:pt x="74410" y="1037555"/>
                    <a:pt x="23409" y="1187371"/>
                  </a:cubicBezTo>
                  <a:cubicBezTo>
                    <a:pt x="-3154" y="1265998"/>
                    <a:pt x="4283" y="1348875"/>
                    <a:pt x="47847" y="1433876"/>
                  </a:cubicBezTo>
                  <a:lnTo>
                    <a:pt x="53160" y="1445564"/>
                  </a:lnTo>
                  <a:cubicBezTo>
                    <a:pt x="53160" y="1447689"/>
                    <a:pt x="150912" y="1635756"/>
                    <a:pt x="358104" y="1635756"/>
                  </a:cubicBezTo>
                  <a:cubicBezTo>
                    <a:pt x="415480" y="1635756"/>
                    <a:pt x="481357" y="1621943"/>
                    <a:pt x="555734" y="1585817"/>
                  </a:cubicBezTo>
                  <a:lnTo>
                    <a:pt x="2193084" y="789987"/>
                  </a:lnTo>
                  <a:lnTo>
                    <a:pt x="2193084" y="748548"/>
                  </a:lnTo>
                  <a:lnTo>
                    <a:pt x="538733" y="155075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159307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Oval 47">
            <a:extLst>
              <a:ext uri="{FF2B5EF4-FFF2-40B4-BE49-F238E27FC236}">
                <a16:creationId xmlns:a16="http://schemas.microsoft.com/office/drawing/2014/main" id="{6BE8D45D-1E08-4F59-96CC-EA53D7CA6AB0}"/>
              </a:ext>
            </a:extLst>
          </p:cNvPr>
          <p:cNvSpPr/>
          <p:nvPr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Graphic 12">
            <a:extLst>
              <a:ext uri="{FF2B5EF4-FFF2-40B4-BE49-F238E27FC236}">
                <a16:creationId xmlns:a16="http://schemas.microsoft.com/office/drawing/2014/main" id="{8E968353-82DA-42A2-88B6-AEFCF124AF4E}"/>
              </a:ext>
            </a:extLst>
          </p:cNvPr>
          <p:cNvSpPr/>
          <p:nvPr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053F33-9837-4E9F-8D29-24A800D841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42753" y="1474969"/>
            <a:ext cx="4395258" cy="676275"/>
          </a:xfrm>
        </p:spPr>
        <p:txBody>
          <a:bodyPr anchor="b">
            <a:normAutofit/>
          </a:bodyPr>
          <a:lstStyle>
            <a:lvl1pPr algn="l">
              <a:defRPr sz="4000"/>
            </a:lvl1pPr>
          </a:lstStyle>
          <a:p>
            <a:r>
              <a:rPr lang="en-US"/>
              <a:t>CHART SLIDE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2A0631-3130-4C36-8E5E-80464B1A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205F7-811A-4606-AC7E-593528945A21}" type="datetimeFigureOut">
              <a:rPr lang="en-GB" smtClean="0"/>
              <a:t>11/1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230F82-FE68-4450-98DF-5D29369AE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6603C1-6E1A-4E4B-9555-31D84B6BD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757CD-3B46-4C63-B887-90DD93699826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Text Placeholder 26">
            <a:extLst>
              <a:ext uri="{FF2B5EF4-FFF2-40B4-BE49-F238E27FC236}">
                <a16:creationId xmlns:a16="http://schemas.microsoft.com/office/drawing/2014/main" id="{C990C5BD-BC2C-4822-AA4E-446B77052F2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649889" y="2592569"/>
            <a:ext cx="5630885" cy="701675"/>
          </a:xfrm>
        </p:spPr>
        <p:txBody>
          <a:bodyPr>
            <a:noAutofit/>
          </a:bodyPr>
          <a:lstStyle>
            <a:lvl1pPr marL="0" indent="0" algn="l">
              <a:buNone/>
              <a:defRPr sz="1800" b="1" i="0"/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971AAD9-2660-4922-9B41-C45976A31C4F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126385" y="3719427"/>
            <a:ext cx="1597889" cy="365125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30%</a:t>
            </a:r>
          </a:p>
        </p:txBody>
      </p:sp>
      <p:sp>
        <p:nvSpPr>
          <p:cNvPr id="30" name="Text Placeholder 26">
            <a:extLst>
              <a:ext uri="{FF2B5EF4-FFF2-40B4-BE49-F238E27FC236}">
                <a16:creationId xmlns:a16="http://schemas.microsoft.com/office/drawing/2014/main" id="{527B617A-AB11-44E9-B2E2-53B7F35CD96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26386" y="3990708"/>
            <a:ext cx="1597889" cy="365125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Clr>
                <a:schemeClr val="accent3"/>
              </a:buClr>
              <a:buNone/>
              <a:defRPr sz="1400" b="1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ategory Tit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9080FED-3BFC-4CCC-8B5A-A2942CA5CF3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126410" y="4451492"/>
            <a:ext cx="1597889" cy="365125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10%</a:t>
            </a:r>
          </a:p>
        </p:txBody>
      </p:sp>
      <p:sp>
        <p:nvSpPr>
          <p:cNvPr id="25" name="Text Placeholder 26">
            <a:extLst>
              <a:ext uri="{FF2B5EF4-FFF2-40B4-BE49-F238E27FC236}">
                <a16:creationId xmlns:a16="http://schemas.microsoft.com/office/drawing/2014/main" id="{E7EC8229-D712-4FD1-990B-9212FC211A9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26411" y="4722773"/>
            <a:ext cx="1597889" cy="365125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Clr>
                <a:schemeClr val="accent3"/>
              </a:buClr>
              <a:buNone/>
              <a:defRPr sz="1400" b="1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ategory Tit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27341020-DCB7-4CC5-BE55-AAAF421822E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065899" y="3719427"/>
            <a:ext cx="1597889" cy="365125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B1896019-AE20-47E2-AA66-ED9D16B2DA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65900" y="3990708"/>
            <a:ext cx="1597889" cy="365125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Clr>
                <a:schemeClr val="accent3"/>
              </a:buClr>
              <a:buNone/>
              <a:defRPr sz="1400" b="1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ategory Titl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212C49D2-92E0-4567-8BD4-9B8FC0536701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065924" y="4451492"/>
            <a:ext cx="1597889" cy="365125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10%</a:t>
            </a:r>
          </a:p>
        </p:txBody>
      </p:sp>
      <p:sp>
        <p:nvSpPr>
          <p:cNvPr id="33" name="Text Placeholder 26">
            <a:extLst>
              <a:ext uri="{FF2B5EF4-FFF2-40B4-BE49-F238E27FC236}">
                <a16:creationId xmlns:a16="http://schemas.microsoft.com/office/drawing/2014/main" id="{6B5DA211-72E1-4B00-AA61-980CE5A3456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65925" y="4722773"/>
            <a:ext cx="1597889" cy="365125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Clr>
                <a:schemeClr val="accent3"/>
              </a:buClr>
              <a:buNone/>
              <a:defRPr sz="1400" b="1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ategory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7CF7C63-619A-46EE-AF36-FCA26441A064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10005413" y="3719427"/>
            <a:ext cx="1597889" cy="365125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20%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2E0EA61-C10D-4760-B03F-F27BCF1FC24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005414" y="3990708"/>
            <a:ext cx="1597889" cy="365125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Clr>
                <a:schemeClr val="accent3"/>
              </a:buClr>
              <a:buNone/>
              <a:defRPr sz="1400" b="1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ategory Title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1A3A14FA-D9E9-4000-B30C-14CADBFE48F6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10005438" y="4451492"/>
            <a:ext cx="1597889" cy="365125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5%</a:t>
            </a:r>
          </a:p>
        </p:txBody>
      </p:sp>
      <p:sp>
        <p:nvSpPr>
          <p:cNvPr id="39" name="Text Placeholder 26">
            <a:extLst>
              <a:ext uri="{FF2B5EF4-FFF2-40B4-BE49-F238E27FC236}">
                <a16:creationId xmlns:a16="http://schemas.microsoft.com/office/drawing/2014/main" id="{0FBCB607-92E0-4206-871B-10CAEB3377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005439" y="4722773"/>
            <a:ext cx="1597889" cy="365125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Clr>
                <a:schemeClr val="accent3"/>
              </a:buClr>
              <a:buNone/>
              <a:defRPr sz="1400" b="1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ategory Title</a:t>
            </a:r>
          </a:p>
        </p:txBody>
      </p:sp>
      <p:sp>
        <p:nvSpPr>
          <p:cNvPr id="19" name="Chart Placeholder 18">
            <a:extLst>
              <a:ext uri="{FF2B5EF4-FFF2-40B4-BE49-F238E27FC236}">
                <a16:creationId xmlns:a16="http://schemas.microsoft.com/office/drawing/2014/main" id="{08CD548A-F4DA-41C7-BC55-620C696D5A6A}"/>
              </a:ext>
            </a:extLst>
          </p:cNvPr>
          <p:cNvSpPr>
            <a:spLocks noGrp="1"/>
          </p:cNvSpPr>
          <p:nvPr>
            <p:ph type="chart" sz="quarter" idx="32"/>
          </p:nvPr>
        </p:nvSpPr>
        <p:spPr>
          <a:xfrm>
            <a:off x="911225" y="908050"/>
            <a:ext cx="4284663" cy="4365625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chart</a:t>
            </a:r>
            <a:endParaRPr lang="ru-RU"/>
          </a:p>
        </p:txBody>
      </p:sp>
      <p:grpSp>
        <p:nvGrpSpPr>
          <p:cNvPr id="41" name="Graphic 39">
            <a:extLst>
              <a:ext uri="{FF2B5EF4-FFF2-40B4-BE49-F238E27FC236}">
                <a16:creationId xmlns:a16="http://schemas.microsoft.com/office/drawing/2014/main" id="{D0A213E0-4DC9-4F6A-98B8-21DE9AE2D9B0}"/>
              </a:ext>
            </a:extLst>
          </p:cNvPr>
          <p:cNvGrpSpPr/>
          <p:nvPr/>
        </p:nvGrpSpPr>
        <p:grpSpPr>
          <a:xfrm>
            <a:off x="10008352" y="0"/>
            <a:ext cx="2188800" cy="1933794"/>
            <a:chOff x="10003200" y="0"/>
            <a:chExt cx="2188800" cy="1933794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4312820-32BB-4DFC-B775-2031DE03F33E}"/>
                </a:ext>
              </a:extLst>
            </p:cNvPr>
            <p:cNvSpPr/>
            <p:nvPr/>
          </p:nvSpPr>
          <p:spPr>
            <a:xfrm>
              <a:off x="10712341" y="-7969"/>
              <a:ext cx="1466283" cy="1009398"/>
            </a:xfrm>
            <a:custGeom>
              <a:avLst/>
              <a:gdLst>
                <a:gd name="connsiteX0" fmla="*/ 1467972 w 1466283"/>
                <a:gd name="connsiteY0" fmla="*/ 752798 h 1009397"/>
                <a:gd name="connsiteX1" fmla="*/ 1221466 w 1466283"/>
                <a:gd name="connsiteY1" fmla="*/ 871801 h 1009397"/>
                <a:gd name="connsiteX2" fmla="*/ 425635 w 1466283"/>
                <a:gd name="connsiteY2" fmla="*/ 821862 h 1009397"/>
                <a:gd name="connsiteX3" fmla="*/ 158942 w 1466283"/>
                <a:gd name="connsiteY3" fmla="*/ 510543 h 1009397"/>
                <a:gd name="connsiteX4" fmla="*/ 145129 w 1466283"/>
                <a:gd name="connsiteY4" fmla="*/ 482917 h 1009397"/>
                <a:gd name="connsiteX5" fmla="*/ 52689 w 1466283"/>
                <a:gd name="connsiteY5" fmla="*/ 7969 h 1009397"/>
                <a:gd name="connsiteX6" fmla="*/ 14439 w 1466283"/>
                <a:gd name="connsiteY6" fmla="*/ 7969 h 1009397"/>
                <a:gd name="connsiteX7" fmla="*/ 111128 w 1466283"/>
                <a:gd name="connsiteY7" fmla="*/ 499918 h 1009397"/>
                <a:gd name="connsiteX8" fmla="*/ 124941 w 1466283"/>
                <a:gd name="connsiteY8" fmla="*/ 527543 h 1009397"/>
                <a:gd name="connsiteX9" fmla="*/ 402260 w 1466283"/>
                <a:gd name="connsiteY9" fmla="*/ 851613 h 1009397"/>
                <a:gd name="connsiteX10" fmla="*/ 845333 w 1466283"/>
                <a:gd name="connsiteY10" fmla="*/ 1004617 h 1009397"/>
                <a:gd name="connsiteX11" fmla="*/ 1238467 w 1466283"/>
                <a:gd name="connsiteY11" fmla="*/ 906864 h 1009397"/>
                <a:gd name="connsiteX12" fmla="*/ 1467972 w 1466283"/>
                <a:gd name="connsiteY12" fmla="*/ 795299 h 1009397"/>
                <a:gd name="connsiteX13" fmla="*/ 1467972 w 1466283"/>
                <a:gd name="connsiteY13" fmla="*/ 752798 h 1009397"/>
                <a:gd name="connsiteX14" fmla="*/ 1467972 w 1466283"/>
                <a:gd name="connsiteY14" fmla="*/ 752798 h 1009397"/>
                <a:gd name="connsiteX15" fmla="*/ 1467972 w 1466283"/>
                <a:gd name="connsiteY15" fmla="*/ 752798 h 100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66283" h="1009397">
                  <a:moveTo>
                    <a:pt x="1467972" y="752798"/>
                  </a:moveTo>
                  <a:lnTo>
                    <a:pt x="1221466" y="871801"/>
                  </a:lnTo>
                  <a:cubicBezTo>
                    <a:pt x="928209" y="1015242"/>
                    <a:pt x="660453" y="997179"/>
                    <a:pt x="425635" y="821862"/>
                  </a:cubicBezTo>
                  <a:cubicBezTo>
                    <a:pt x="250319" y="689047"/>
                    <a:pt x="158942" y="512668"/>
                    <a:pt x="158942" y="510543"/>
                  </a:cubicBezTo>
                  <a:lnTo>
                    <a:pt x="145129" y="482917"/>
                  </a:lnTo>
                  <a:cubicBezTo>
                    <a:pt x="61190" y="315038"/>
                    <a:pt x="29314" y="155660"/>
                    <a:pt x="52689" y="7969"/>
                  </a:cubicBezTo>
                  <a:lnTo>
                    <a:pt x="14439" y="7969"/>
                  </a:lnTo>
                  <a:cubicBezTo>
                    <a:pt x="-6812" y="163097"/>
                    <a:pt x="24001" y="327789"/>
                    <a:pt x="111128" y="499918"/>
                  </a:cubicBezTo>
                  <a:lnTo>
                    <a:pt x="124941" y="527543"/>
                  </a:lnTo>
                  <a:cubicBezTo>
                    <a:pt x="129191" y="534981"/>
                    <a:pt x="219506" y="714548"/>
                    <a:pt x="402260" y="851613"/>
                  </a:cubicBezTo>
                  <a:cubicBezTo>
                    <a:pt x="508512" y="931302"/>
                    <a:pt x="656203" y="1004617"/>
                    <a:pt x="845333" y="1004617"/>
                  </a:cubicBezTo>
                  <a:cubicBezTo>
                    <a:pt x="961148" y="1004617"/>
                    <a:pt x="1091838" y="976991"/>
                    <a:pt x="1238467" y="906864"/>
                  </a:cubicBezTo>
                  <a:lnTo>
                    <a:pt x="1467972" y="795299"/>
                  </a:lnTo>
                  <a:lnTo>
                    <a:pt x="1467972" y="752798"/>
                  </a:lnTo>
                  <a:lnTo>
                    <a:pt x="1467972" y="752798"/>
                  </a:lnTo>
                  <a:lnTo>
                    <a:pt x="1467972" y="75279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F9B4581F-B122-40B8-BE37-64894A713B38}"/>
                </a:ext>
              </a:extLst>
            </p:cNvPr>
            <p:cNvSpPr/>
            <p:nvPr/>
          </p:nvSpPr>
          <p:spPr>
            <a:xfrm>
              <a:off x="10014209" y="321414"/>
              <a:ext cx="2178175" cy="1593786"/>
            </a:xfrm>
            <a:custGeom>
              <a:avLst/>
              <a:gdLst>
                <a:gd name="connsiteX0" fmla="*/ 231247 w 2178174"/>
                <a:gd name="connsiteY0" fmla="*/ 950428 h 1593786"/>
                <a:gd name="connsiteX1" fmla="*/ 45305 w 2178174"/>
                <a:gd name="connsiteY1" fmla="*/ 1404126 h 1593786"/>
                <a:gd name="connsiteX2" fmla="*/ 50617 w 2178174"/>
                <a:gd name="connsiteY2" fmla="*/ 1415814 h 1593786"/>
                <a:gd name="connsiteX3" fmla="*/ 529816 w 2178174"/>
                <a:gd name="connsiteY3" fmla="*/ 1547566 h 1593786"/>
                <a:gd name="connsiteX4" fmla="*/ 2173541 w 2178174"/>
                <a:gd name="connsiteY4" fmla="*/ 749611 h 1593786"/>
                <a:gd name="connsiteX5" fmla="*/ 2173541 w 2178174"/>
                <a:gd name="connsiteY5" fmla="*/ 7969 h 1593786"/>
                <a:gd name="connsiteX6" fmla="*/ 231247 w 2178174"/>
                <a:gd name="connsiteY6" fmla="*/ 950428 h 1593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8174" h="1593786">
                  <a:moveTo>
                    <a:pt x="231247" y="950428"/>
                  </a:moveTo>
                  <a:cubicBezTo>
                    <a:pt x="231247" y="950428"/>
                    <a:pt x="-101324" y="1111932"/>
                    <a:pt x="45305" y="1404126"/>
                  </a:cubicBezTo>
                  <a:lnTo>
                    <a:pt x="50617" y="1415814"/>
                  </a:lnTo>
                  <a:cubicBezTo>
                    <a:pt x="50617" y="1415814"/>
                    <a:pt x="197246" y="1708008"/>
                    <a:pt x="529816" y="1547566"/>
                  </a:cubicBezTo>
                  <a:lnTo>
                    <a:pt x="2173541" y="749611"/>
                  </a:lnTo>
                  <a:lnTo>
                    <a:pt x="2173541" y="7969"/>
                  </a:lnTo>
                  <a:lnTo>
                    <a:pt x="231247" y="950428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7CF8C75-A610-43BA-923F-335A6051357D}"/>
                </a:ext>
              </a:extLst>
            </p:cNvPr>
            <p:cNvSpPr/>
            <p:nvPr/>
          </p:nvSpPr>
          <p:spPr>
            <a:xfrm>
              <a:off x="10732016" y="-7969"/>
              <a:ext cx="1455658" cy="839394"/>
            </a:xfrm>
            <a:custGeom>
              <a:avLst/>
              <a:gdLst>
                <a:gd name="connsiteX0" fmla="*/ 123329 w 1455658"/>
                <a:gd name="connsiteY0" fmla="*/ 521168 h 839394"/>
                <a:gd name="connsiteX1" fmla="*/ 390022 w 1455658"/>
                <a:gd name="connsiteY1" fmla="*/ 834613 h 839394"/>
                <a:gd name="connsiteX2" fmla="*/ 1455734 w 1455658"/>
                <a:gd name="connsiteY2" fmla="*/ 317163 h 839394"/>
                <a:gd name="connsiteX3" fmla="*/ 1456797 w 1455658"/>
                <a:gd name="connsiteY3" fmla="*/ 7969 h 839394"/>
                <a:gd name="connsiteX4" fmla="*/ 14951 w 1455658"/>
                <a:gd name="connsiteY4" fmla="*/ 7969 h 839394"/>
                <a:gd name="connsiteX5" fmla="*/ 109516 w 1455658"/>
                <a:gd name="connsiteY5" fmla="*/ 493543 h 839394"/>
                <a:gd name="connsiteX6" fmla="*/ 123329 w 1455658"/>
                <a:gd name="connsiteY6" fmla="*/ 521168 h 83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5658" h="839394">
                  <a:moveTo>
                    <a:pt x="123329" y="521168"/>
                  </a:moveTo>
                  <a:cubicBezTo>
                    <a:pt x="123329" y="521168"/>
                    <a:pt x="212581" y="698610"/>
                    <a:pt x="390022" y="834613"/>
                  </a:cubicBezTo>
                  <a:lnTo>
                    <a:pt x="1455734" y="317163"/>
                  </a:lnTo>
                  <a:lnTo>
                    <a:pt x="1456797" y="7969"/>
                  </a:lnTo>
                  <a:lnTo>
                    <a:pt x="14951" y="7969"/>
                  </a:lnTo>
                  <a:cubicBezTo>
                    <a:pt x="-5237" y="145035"/>
                    <a:pt x="16014" y="307601"/>
                    <a:pt x="109516" y="493543"/>
                  </a:cubicBezTo>
                  <a:lnTo>
                    <a:pt x="123329" y="521168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6793F9B-5B71-414E-9CB2-2B76F8308871}"/>
                </a:ext>
              </a:extLst>
            </p:cNvPr>
            <p:cNvSpPr/>
            <p:nvPr/>
          </p:nvSpPr>
          <p:spPr>
            <a:xfrm>
              <a:off x="11124635" y="1146995"/>
              <a:ext cx="1062524" cy="743767"/>
            </a:xfrm>
            <a:custGeom>
              <a:avLst/>
              <a:gdLst>
                <a:gd name="connsiteX0" fmla="*/ 1064178 w 1062524"/>
                <a:gd name="connsiteY0" fmla="*/ 7969 h 743766"/>
                <a:gd name="connsiteX1" fmla="*/ 91968 w 1062524"/>
                <a:gd name="connsiteY1" fmla="*/ 480792 h 743766"/>
                <a:gd name="connsiteX2" fmla="*/ 22904 w 1062524"/>
                <a:gd name="connsiteY2" fmla="*/ 658234 h 743766"/>
                <a:gd name="connsiteX3" fmla="*/ 25029 w 1062524"/>
                <a:gd name="connsiteY3" fmla="*/ 663546 h 743766"/>
                <a:gd name="connsiteX4" fmla="*/ 209908 w 1062524"/>
                <a:gd name="connsiteY4" fmla="*/ 718798 h 743766"/>
                <a:gd name="connsiteX5" fmla="*/ 1064178 w 1062524"/>
                <a:gd name="connsiteY5" fmla="*/ 302288 h 743766"/>
                <a:gd name="connsiteX6" fmla="*/ 1064178 w 1062524"/>
                <a:gd name="connsiteY6" fmla="*/ 7969 h 743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2524" h="743766">
                  <a:moveTo>
                    <a:pt x="1064178" y="7969"/>
                  </a:moveTo>
                  <a:lnTo>
                    <a:pt x="91968" y="480792"/>
                  </a:lnTo>
                  <a:cubicBezTo>
                    <a:pt x="91968" y="480792"/>
                    <a:pt x="-34472" y="543481"/>
                    <a:pt x="22904" y="658234"/>
                  </a:cubicBezTo>
                  <a:lnTo>
                    <a:pt x="25029" y="663546"/>
                  </a:lnTo>
                  <a:cubicBezTo>
                    <a:pt x="25029" y="663546"/>
                    <a:pt x="82405" y="780424"/>
                    <a:pt x="209908" y="718798"/>
                  </a:cubicBezTo>
                  <a:lnTo>
                    <a:pt x="1064178" y="302288"/>
                  </a:lnTo>
                  <a:lnTo>
                    <a:pt x="1064178" y="7969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807DE94-0E8D-4E1B-A7D2-E0F91AF2E54C}"/>
                </a:ext>
              </a:extLst>
            </p:cNvPr>
            <p:cNvSpPr/>
            <p:nvPr/>
          </p:nvSpPr>
          <p:spPr>
            <a:xfrm>
              <a:off x="11105057" y="1128932"/>
              <a:ext cx="1083775" cy="775643"/>
            </a:xfrm>
            <a:custGeom>
              <a:avLst/>
              <a:gdLst>
                <a:gd name="connsiteX0" fmla="*/ 219924 w 1083774"/>
                <a:gd name="connsiteY0" fmla="*/ 719860 h 775642"/>
                <a:gd name="connsiteX1" fmla="*/ 60545 w 1083774"/>
                <a:gd name="connsiteY1" fmla="*/ 674172 h 775642"/>
                <a:gd name="connsiteX2" fmla="*/ 58420 w 1083774"/>
                <a:gd name="connsiteY2" fmla="*/ 668859 h 775642"/>
                <a:gd name="connsiteX3" fmla="*/ 118984 w 1083774"/>
                <a:gd name="connsiteY3" fmla="*/ 515856 h 775642"/>
                <a:gd name="connsiteX4" fmla="*/ 1083756 w 1083774"/>
                <a:gd name="connsiteY4" fmla="*/ 48345 h 775642"/>
                <a:gd name="connsiteX5" fmla="*/ 1083756 w 1083774"/>
                <a:gd name="connsiteY5" fmla="*/ 7969 h 775642"/>
                <a:gd name="connsiteX6" fmla="*/ 103046 w 1083774"/>
                <a:gd name="connsiteY6" fmla="*/ 482917 h 775642"/>
                <a:gd name="connsiteX7" fmla="*/ 14856 w 1083774"/>
                <a:gd name="connsiteY7" fmla="*/ 578544 h 775642"/>
                <a:gd name="connsiteX8" fmla="*/ 24419 w 1083774"/>
                <a:gd name="connsiteY8" fmla="*/ 686922 h 775642"/>
                <a:gd name="connsiteX9" fmla="*/ 26544 w 1083774"/>
                <a:gd name="connsiteY9" fmla="*/ 692234 h 775642"/>
                <a:gd name="connsiteX10" fmla="*/ 157235 w 1083774"/>
                <a:gd name="connsiteY10" fmla="*/ 775111 h 775642"/>
                <a:gd name="connsiteX11" fmla="*/ 236924 w 1083774"/>
                <a:gd name="connsiteY11" fmla="*/ 754923 h 775642"/>
                <a:gd name="connsiteX12" fmla="*/ 1083756 w 1083774"/>
                <a:gd name="connsiteY12" fmla="*/ 344789 h 775642"/>
                <a:gd name="connsiteX13" fmla="*/ 1083756 w 1083774"/>
                <a:gd name="connsiteY13" fmla="*/ 301226 h 775642"/>
                <a:gd name="connsiteX14" fmla="*/ 219924 w 1083774"/>
                <a:gd name="connsiteY14" fmla="*/ 719860 h 77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83774" h="775642">
                  <a:moveTo>
                    <a:pt x="219924" y="719860"/>
                  </a:moveTo>
                  <a:cubicBezTo>
                    <a:pt x="112609" y="771924"/>
                    <a:pt x="65858" y="683734"/>
                    <a:pt x="60545" y="674172"/>
                  </a:cubicBezTo>
                  <a:lnTo>
                    <a:pt x="58420" y="668859"/>
                  </a:lnTo>
                  <a:cubicBezTo>
                    <a:pt x="9544" y="571107"/>
                    <a:pt x="114734" y="519043"/>
                    <a:pt x="118984" y="515856"/>
                  </a:cubicBezTo>
                  <a:lnTo>
                    <a:pt x="1083756" y="48345"/>
                  </a:lnTo>
                  <a:lnTo>
                    <a:pt x="1083756" y="7969"/>
                  </a:lnTo>
                  <a:lnTo>
                    <a:pt x="103046" y="482917"/>
                  </a:lnTo>
                  <a:cubicBezTo>
                    <a:pt x="100921" y="483980"/>
                    <a:pt x="36107" y="516918"/>
                    <a:pt x="14856" y="578544"/>
                  </a:cubicBezTo>
                  <a:cubicBezTo>
                    <a:pt x="3169" y="613608"/>
                    <a:pt x="6356" y="649733"/>
                    <a:pt x="24419" y="686922"/>
                  </a:cubicBezTo>
                  <a:lnTo>
                    <a:pt x="26544" y="692234"/>
                  </a:lnTo>
                  <a:cubicBezTo>
                    <a:pt x="44607" y="726235"/>
                    <a:pt x="88171" y="775111"/>
                    <a:pt x="157235" y="775111"/>
                  </a:cubicBezTo>
                  <a:cubicBezTo>
                    <a:pt x="180610" y="775111"/>
                    <a:pt x="207173" y="768736"/>
                    <a:pt x="236924" y="754923"/>
                  </a:cubicBezTo>
                  <a:lnTo>
                    <a:pt x="1083756" y="344789"/>
                  </a:lnTo>
                  <a:lnTo>
                    <a:pt x="1083756" y="301226"/>
                  </a:lnTo>
                  <a:lnTo>
                    <a:pt x="219924" y="71986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BC592BA-C191-49B5-8F41-8E14CFFDAC40}"/>
                </a:ext>
              </a:extLst>
            </p:cNvPr>
            <p:cNvSpPr/>
            <p:nvPr/>
          </p:nvSpPr>
          <p:spPr>
            <a:xfrm>
              <a:off x="9994666" y="301226"/>
              <a:ext cx="2199425" cy="1636287"/>
            </a:xfrm>
            <a:custGeom>
              <a:avLst/>
              <a:gdLst>
                <a:gd name="connsiteX0" fmla="*/ 538733 w 2199425"/>
                <a:gd name="connsiteY0" fmla="*/ 1550754 h 1636287"/>
                <a:gd name="connsiteX1" fmla="*/ 86098 w 2199425"/>
                <a:gd name="connsiteY1" fmla="*/ 1428564 h 1636287"/>
                <a:gd name="connsiteX2" fmla="*/ 80785 w 2199425"/>
                <a:gd name="connsiteY2" fmla="*/ 1416876 h 1636287"/>
                <a:gd name="connsiteX3" fmla="*/ 115848 w 2199425"/>
                <a:gd name="connsiteY3" fmla="*/ 1102369 h 1636287"/>
                <a:gd name="connsiteX4" fmla="*/ 257164 w 2199425"/>
                <a:gd name="connsiteY4" fmla="*/ 988679 h 1636287"/>
                <a:gd name="connsiteX5" fmla="*/ 2193084 w 2199425"/>
                <a:gd name="connsiteY5" fmla="*/ 49407 h 1636287"/>
                <a:gd name="connsiteX6" fmla="*/ 2193084 w 2199425"/>
                <a:gd name="connsiteY6" fmla="*/ 7969 h 1636287"/>
                <a:gd name="connsiteX7" fmla="*/ 241226 w 2199425"/>
                <a:gd name="connsiteY7" fmla="*/ 954678 h 1636287"/>
                <a:gd name="connsiteX8" fmla="*/ 23409 w 2199425"/>
                <a:gd name="connsiteY8" fmla="*/ 1187371 h 1636287"/>
                <a:gd name="connsiteX9" fmla="*/ 47847 w 2199425"/>
                <a:gd name="connsiteY9" fmla="*/ 1433876 h 1636287"/>
                <a:gd name="connsiteX10" fmla="*/ 53160 w 2199425"/>
                <a:gd name="connsiteY10" fmla="*/ 1445564 h 1636287"/>
                <a:gd name="connsiteX11" fmla="*/ 358104 w 2199425"/>
                <a:gd name="connsiteY11" fmla="*/ 1635756 h 1636287"/>
                <a:gd name="connsiteX12" fmla="*/ 555734 w 2199425"/>
                <a:gd name="connsiteY12" fmla="*/ 1585817 h 1636287"/>
                <a:gd name="connsiteX13" fmla="*/ 2193084 w 2199425"/>
                <a:gd name="connsiteY13" fmla="*/ 789987 h 1636287"/>
                <a:gd name="connsiteX14" fmla="*/ 2193084 w 2199425"/>
                <a:gd name="connsiteY14" fmla="*/ 748548 h 1636287"/>
                <a:gd name="connsiteX15" fmla="*/ 538733 w 2199425"/>
                <a:gd name="connsiteY15" fmla="*/ 1550754 h 163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9425" h="1636287">
                  <a:moveTo>
                    <a:pt x="538733" y="1550754"/>
                  </a:moveTo>
                  <a:cubicBezTo>
                    <a:pt x="228476" y="1701633"/>
                    <a:pt x="90348" y="1439189"/>
                    <a:pt x="86098" y="1428564"/>
                  </a:cubicBezTo>
                  <a:lnTo>
                    <a:pt x="80785" y="1416876"/>
                  </a:lnTo>
                  <a:cubicBezTo>
                    <a:pt x="24471" y="1303186"/>
                    <a:pt x="35097" y="1196934"/>
                    <a:pt x="115848" y="1102369"/>
                  </a:cubicBezTo>
                  <a:cubicBezTo>
                    <a:pt x="176412" y="1030117"/>
                    <a:pt x="256102" y="989741"/>
                    <a:pt x="257164" y="988679"/>
                  </a:cubicBezTo>
                  <a:lnTo>
                    <a:pt x="2193084" y="49407"/>
                  </a:lnTo>
                  <a:lnTo>
                    <a:pt x="2193084" y="7969"/>
                  </a:lnTo>
                  <a:lnTo>
                    <a:pt x="241226" y="954678"/>
                  </a:lnTo>
                  <a:cubicBezTo>
                    <a:pt x="234851" y="958928"/>
                    <a:pt x="74410" y="1037555"/>
                    <a:pt x="23409" y="1187371"/>
                  </a:cubicBezTo>
                  <a:cubicBezTo>
                    <a:pt x="-3154" y="1265998"/>
                    <a:pt x="4283" y="1348875"/>
                    <a:pt x="47847" y="1433876"/>
                  </a:cubicBezTo>
                  <a:lnTo>
                    <a:pt x="53160" y="1445564"/>
                  </a:lnTo>
                  <a:cubicBezTo>
                    <a:pt x="53160" y="1447689"/>
                    <a:pt x="150912" y="1635756"/>
                    <a:pt x="358104" y="1635756"/>
                  </a:cubicBezTo>
                  <a:cubicBezTo>
                    <a:pt x="415480" y="1635756"/>
                    <a:pt x="481357" y="1621943"/>
                    <a:pt x="555734" y="1585817"/>
                  </a:cubicBezTo>
                  <a:lnTo>
                    <a:pt x="2193084" y="789987"/>
                  </a:lnTo>
                  <a:lnTo>
                    <a:pt x="2193084" y="748548"/>
                  </a:lnTo>
                  <a:lnTo>
                    <a:pt x="538733" y="155075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3" name="Graphic 50">
            <a:extLst>
              <a:ext uri="{FF2B5EF4-FFF2-40B4-BE49-F238E27FC236}">
                <a16:creationId xmlns:a16="http://schemas.microsoft.com/office/drawing/2014/main" id="{33AA43FA-C2DC-406C-BFE6-A2A804112236}"/>
              </a:ext>
            </a:extLst>
          </p:cNvPr>
          <p:cNvSpPr/>
          <p:nvPr/>
        </p:nvSpPr>
        <p:spPr>
          <a:xfrm>
            <a:off x="5731819" y="2267879"/>
            <a:ext cx="3016875" cy="165305"/>
          </a:xfrm>
          <a:custGeom>
            <a:avLst/>
            <a:gdLst>
              <a:gd name="connsiteX0" fmla="*/ 2957222 w 3016875"/>
              <a:gd name="connsiteY0" fmla="*/ 159503 h 165304"/>
              <a:gd name="connsiteX1" fmla="*/ 71329 w 3016875"/>
              <a:gd name="connsiteY1" fmla="*/ 159503 h 165304"/>
              <a:gd name="connsiteX2" fmla="*/ 9059 w 3016875"/>
              <a:gd name="connsiteY2" fmla="*/ 84480 h 165304"/>
              <a:gd name="connsiteX3" fmla="*/ 9059 w 3016875"/>
              <a:gd name="connsiteY3" fmla="*/ 84480 h 165304"/>
              <a:gd name="connsiteX4" fmla="*/ 71329 w 3016875"/>
              <a:gd name="connsiteY4" fmla="*/ 10729 h 165304"/>
              <a:gd name="connsiteX5" fmla="*/ 2956149 w 3016875"/>
              <a:gd name="connsiteY5" fmla="*/ 10729 h 165304"/>
              <a:gd name="connsiteX6" fmla="*/ 3018419 w 3016875"/>
              <a:gd name="connsiteY6" fmla="*/ 84480 h 165304"/>
              <a:gd name="connsiteX7" fmla="*/ 3018419 w 3016875"/>
              <a:gd name="connsiteY7" fmla="*/ 84480 h 165304"/>
              <a:gd name="connsiteX8" fmla="*/ 2957222 w 3016875"/>
              <a:gd name="connsiteY8" fmla="*/ 159503 h 165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16875" h="165304">
                <a:moveTo>
                  <a:pt x="2957222" y="159503"/>
                </a:moveTo>
                <a:lnTo>
                  <a:pt x="71329" y="159503"/>
                </a:lnTo>
                <a:cubicBezTo>
                  <a:pt x="36973" y="159503"/>
                  <a:pt x="9059" y="125171"/>
                  <a:pt x="9059" y="84480"/>
                </a:cubicBezTo>
                <a:lnTo>
                  <a:pt x="9059" y="84480"/>
                </a:lnTo>
                <a:cubicBezTo>
                  <a:pt x="9059" y="43790"/>
                  <a:pt x="36973" y="10729"/>
                  <a:pt x="71329" y="10729"/>
                </a:cubicBezTo>
                <a:lnTo>
                  <a:pt x="2956149" y="10729"/>
                </a:lnTo>
                <a:cubicBezTo>
                  <a:pt x="2990505" y="10729"/>
                  <a:pt x="3018419" y="43790"/>
                  <a:pt x="3018419" y="84480"/>
                </a:cubicBezTo>
                <a:lnTo>
                  <a:pt x="3018419" y="84480"/>
                </a:lnTo>
                <a:cubicBezTo>
                  <a:pt x="3019492" y="125171"/>
                  <a:pt x="2991578" y="159503"/>
                  <a:pt x="2957222" y="159503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10716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41139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Oval 51">
            <a:extLst>
              <a:ext uri="{FF2B5EF4-FFF2-40B4-BE49-F238E27FC236}">
                <a16:creationId xmlns:a16="http://schemas.microsoft.com/office/drawing/2014/main" id="{F21AF1E2-466C-487E-86AF-CA6FFFCA2720}"/>
              </a:ext>
            </a:extLst>
          </p:cNvPr>
          <p:cNvSpPr/>
          <p:nvPr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Graphic 12">
            <a:extLst>
              <a:ext uri="{FF2B5EF4-FFF2-40B4-BE49-F238E27FC236}">
                <a16:creationId xmlns:a16="http://schemas.microsoft.com/office/drawing/2014/main" id="{531F1BC1-79BD-45BA-B27E-7A2C62A65EC9}"/>
              </a:ext>
            </a:extLst>
          </p:cNvPr>
          <p:cNvSpPr/>
          <p:nvPr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053F33-9837-4E9F-8D29-24A800D841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744" y="2134675"/>
            <a:ext cx="3403308" cy="676275"/>
          </a:xfrm>
        </p:spPr>
        <p:txBody>
          <a:bodyPr anchor="b">
            <a:normAutofit/>
          </a:bodyPr>
          <a:lstStyle>
            <a:lvl1pPr algn="l">
              <a:defRPr sz="4000"/>
            </a:lvl1pPr>
          </a:lstStyle>
          <a:p>
            <a:r>
              <a:rPr lang="en-US"/>
              <a:t>TABLE SLIDE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2A0631-3130-4C36-8E5E-80464B1A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205F7-811A-4606-AC7E-593528945A21}" type="datetimeFigureOut">
              <a:rPr lang="en-GB" smtClean="0"/>
              <a:t>11/1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230F82-FE68-4450-98DF-5D29369AE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6603C1-6E1A-4E4B-9555-31D84B6BD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757CD-3B46-4C63-B887-90DD93699826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Text Placeholder 26">
            <a:extLst>
              <a:ext uri="{FF2B5EF4-FFF2-40B4-BE49-F238E27FC236}">
                <a16:creationId xmlns:a16="http://schemas.microsoft.com/office/drawing/2014/main" id="{C990C5BD-BC2C-4822-AA4E-446B77052F2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09405" y="3252275"/>
            <a:ext cx="3396171" cy="1846732"/>
          </a:xfrm>
        </p:spPr>
        <p:txBody>
          <a:bodyPr>
            <a:noAutofit/>
          </a:bodyPr>
          <a:lstStyle>
            <a:lvl1pPr marL="0" indent="0" algn="l">
              <a:buNone/>
              <a:defRPr sz="1800" b="1" i="0"/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able Placeholder 17">
            <a:extLst>
              <a:ext uri="{FF2B5EF4-FFF2-40B4-BE49-F238E27FC236}">
                <a16:creationId xmlns:a16="http://schemas.microsoft.com/office/drawing/2014/main" id="{3AF64257-E00C-4FE5-925B-A78911D1D2B9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4724400" y="1493214"/>
            <a:ext cx="6561138" cy="3847135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table</a:t>
            </a:r>
            <a:endParaRPr lang="ru-RU"/>
          </a:p>
        </p:txBody>
      </p:sp>
      <p:grpSp>
        <p:nvGrpSpPr>
          <p:cNvPr id="45" name="Graphic 39">
            <a:extLst>
              <a:ext uri="{FF2B5EF4-FFF2-40B4-BE49-F238E27FC236}">
                <a16:creationId xmlns:a16="http://schemas.microsoft.com/office/drawing/2014/main" id="{2B29CFAD-7DFA-43C8-BC78-F666303C4A65}"/>
              </a:ext>
            </a:extLst>
          </p:cNvPr>
          <p:cNvGrpSpPr/>
          <p:nvPr/>
        </p:nvGrpSpPr>
        <p:grpSpPr>
          <a:xfrm flipH="1">
            <a:off x="-3477" y="0"/>
            <a:ext cx="2188800" cy="1933794"/>
            <a:chOff x="10003200" y="0"/>
            <a:chExt cx="2188800" cy="1933794"/>
          </a:xfrm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7709766F-07C2-47E0-94AE-482595B63D17}"/>
                </a:ext>
              </a:extLst>
            </p:cNvPr>
            <p:cNvSpPr/>
            <p:nvPr/>
          </p:nvSpPr>
          <p:spPr>
            <a:xfrm>
              <a:off x="10712341" y="-7969"/>
              <a:ext cx="1466283" cy="1009398"/>
            </a:xfrm>
            <a:custGeom>
              <a:avLst/>
              <a:gdLst>
                <a:gd name="connsiteX0" fmla="*/ 1467972 w 1466283"/>
                <a:gd name="connsiteY0" fmla="*/ 752798 h 1009397"/>
                <a:gd name="connsiteX1" fmla="*/ 1221466 w 1466283"/>
                <a:gd name="connsiteY1" fmla="*/ 871801 h 1009397"/>
                <a:gd name="connsiteX2" fmla="*/ 425635 w 1466283"/>
                <a:gd name="connsiteY2" fmla="*/ 821862 h 1009397"/>
                <a:gd name="connsiteX3" fmla="*/ 158942 w 1466283"/>
                <a:gd name="connsiteY3" fmla="*/ 510543 h 1009397"/>
                <a:gd name="connsiteX4" fmla="*/ 145129 w 1466283"/>
                <a:gd name="connsiteY4" fmla="*/ 482917 h 1009397"/>
                <a:gd name="connsiteX5" fmla="*/ 52689 w 1466283"/>
                <a:gd name="connsiteY5" fmla="*/ 7969 h 1009397"/>
                <a:gd name="connsiteX6" fmla="*/ 14439 w 1466283"/>
                <a:gd name="connsiteY6" fmla="*/ 7969 h 1009397"/>
                <a:gd name="connsiteX7" fmla="*/ 111128 w 1466283"/>
                <a:gd name="connsiteY7" fmla="*/ 499918 h 1009397"/>
                <a:gd name="connsiteX8" fmla="*/ 124941 w 1466283"/>
                <a:gd name="connsiteY8" fmla="*/ 527543 h 1009397"/>
                <a:gd name="connsiteX9" fmla="*/ 402260 w 1466283"/>
                <a:gd name="connsiteY9" fmla="*/ 851613 h 1009397"/>
                <a:gd name="connsiteX10" fmla="*/ 845333 w 1466283"/>
                <a:gd name="connsiteY10" fmla="*/ 1004617 h 1009397"/>
                <a:gd name="connsiteX11" fmla="*/ 1238467 w 1466283"/>
                <a:gd name="connsiteY11" fmla="*/ 906864 h 1009397"/>
                <a:gd name="connsiteX12" fmla="*/ 1467972 w 1466283"/>
                <a:gd name="connsiteY12" fmla="*/ 795299 h 1009397"/>
                <a:gd name="connsiteX13" fmla="*/ 1467972 w 1466283"/>
                <a:gd name="connsiteY13" fmla="*/ 752798 h 1009397"/>
                <a:gd name="connsiteX14" fmla="*/ 1467972 w 1466283"/>
                <a:gd name="connsiteY14" fmla="*/ 752798 h 1009397"/>
                <a:gd name="connsiteX15" fmla="*/ 1467972 w 1466283"/>
                <a:gd name="connsiteY15" fmla="*/ 752798 h 100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66283" h="1009397">
                  <a:moveTo>
                    <a:pt x="1467972" y="752798"/>
                  </a:moveTo>
                  <a:lnTo>
                    <a:pt x="1221466" y="871801"/>
                  </a:lnTo>
                  <a:cubicBezTo>
                    <a:pt x="928209" y="1015242"/>
                    <a:pt x="660453" y="997179"/>
                    <a:pt x="425635" y="821862"/>
                  </a:cubicBezTo>
                  <a:cubicBezTo>
                    <a:pt x="250319" y="689047"/>
                    <a:pt x="158942" y="512668"/>
                    <a:pt x="158942" y="510543"/>
                  </a:cubicBezTo>
                  <a:lnTo>
                    <a:pt x="145129" y="482917"/>
                  </a:lnTo>
                  <a:cubicBezTo>
                    <a:pt x="61190" y="315038"/>
                    <a:pt x="29314" y="155660"/>
                    <a:pt x="52689" y="7969"/>
                  </a:cubicBezTo>
                  <a:lnTo>
                    <a:pt x="14439" y="7969"/>
                  </a:lnTo>
                  <a:cubicBezTo>
                    <a:pt x="-6812" y="163097"/>
                    <a:pt x="24001" y="327789"/>
                    <a:pt x="111128" y="499918"/>
                  </a:cubicBezTo>
                  <a:lnTo>
                    <a:pt x="124941" y="527543"/>
                  </a:lnTo>
                  <a:cubicBezTo>
                    <a:pt x="129191" y="534981"/>
                    <a:pt x="219506" y="714548"/>
                    <a:pt x="402260" y="851613"/>
                  </a:cubicBezTo>
                  <a:cubicBezTo>
                    <a:pt x="508512" y="931302"/>
                    <a:pt x="656203" y="1004617"/>
                    <a:pt x="845333" y="1004617"/>
                  </a:cubicBezTo>
                  <a:cubicBezTo>
                    <a:pt x="961148" y="1004617"/>
                    <a:pt x="1091838" y="976991"/>
                    <a:pt x="1238467" y="906864"/>
                  </a:cubicBezTo>
                  <a:lnTo>
                    <a:pt x="1467972" y="795299"/>
                  </a:lnTo>
                  <a:lnTo>
                    <a:pt x="1467972" y="752798"/>
                  </a:lnTo>
                  <a:lnTo>
                    <a:pt x="1467972" y="752798"/>
                  </a:lnTo>
                  <a:lnTo>
                    <a:pt x="1467972" y="75279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9F02ED7-2803-4FC7-8D17-DB9AF81B2257}"/>
                </a:ext>
              </a:extLst>
            </p:cNvPr>
            <p:cNvSpPr/>
            <p:nvPr/>
          </p:nvSpPr>
          <p:spPr>
            <a:xfrm>
              <a:off x="10014209" y="321414"/>
              <a:ext cx="2178175" cy="1593786"/>
            </a:xfrm>
            <a:custGeom>
              <a:avLst/>
              <a:gdLst>
                <a:gd name="connsiteX0" fmla="*/ 231247 w 2178174"/>
                <a:gd name="connsiteY0" fmla="*/ 950428 h 1593786"/>
                <a:gd name="connsiteX1" fmla="*/ 45305 w 2178174"/>
                <a:gd name="connsiteY1" fmla="*/ 1404126 h 1593786"/>
                <a:gd name="connsiteX2" fmla="*/ 50617 w 2178174"/>
                <a:gd name="connsiteY2" fmla="*/ 1415814 h 1593786"/>
                <a:gd name="connsiteX3" fmla="*/ 529816 w 2178174"/>
                <a:gd name="connsiteY3" fmla="*/ 1547566 h 1593786"/>
                <a:gd name="connsiteX4" fmla="*/ 2173541 w 2178174"/>
                <a:gd name="connsiteY4" fmla="*/ 749611 h 1593786"/>
                <a:gd name="connsiteX5" fmla="*/ 2173541 w 2178174"/>
                <a:gd name="connsiteY5" fmla="*/ 7969 h 1593786"/>
                <a:gd name="connsiteX6" fmla="*/ 231247 w 2178174"/>
                <a:gd name="connsiteY6" fmla="*/ 950428 h 1593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8174" h="1593786">
                  <a:moveTo>
                    <a:pt x="231247" y="950428"/>
                  </a:moveTo>
                  <a:cubicBezTo>
                    <a:pt x="231247" y="950428"/>
                    <a:pt x="-101324" y="1111932"/>
                    <a:pt x="45305" y="1404126"/>
                  </a:cubicBezTo>
                  <a:lnTo>
                    <a:pt x="50617" y="1415814"/>
                  </a:lnTo>
                  <a:cubicBezTo>
                    <a:pt x="50617" y="1415814"/>
                    <a:pt x="197246" y="1708008"/>
                    <a:pt x="529816" y="1547566"/>
                  </a:cubicBezTo>
                  <a:lnTo>
                    <a:pt x="2173541" y="749611"/>
                  </a:lnTo>
                  <a:lnTo>
                    <a:pt x="2173541" y="7969"/>
                  </a:lnTo>
                  <a:lnTo>
                    <a:pt x="231247" y="950428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6715C276-3245-4E87-976F-10DC35AF0E89}"/>
                </a:ext>
              </a:extLst>
            </p:cNvPr>
            <p:cNvSpPr/>
            <p:nvPr/>
          </p:nvSpPr>
          <p:spPr>
            <a:xfrm>
              <a:off x="10732016" y="-7969"/>
              <a:ext cx="1455658" cy="839394"/>
            </a:xfrm>
            <a:custGeom>
              <a:avLst/>
              <a:gdLst>
                <a:gd name="connsiteX0" fmla="*/ 123329 w 1455658"/>
                <a:gd name="connsiteY0" fmla="*/ 521168 h 839394"/>
                <a:gd name="connsiteX1" fmla="*/ 390022 w 1455658"/>
                <a:gd name="connsiteY1" fmla="*/ 834613 h 839394"/>
                <a:gd name="connsiteX2" fmla="*/ 1455734 w 1455658"/>
                <a:gd name="connsiteY2" fmla="*/ 317163 h 839394"/>
                <a:gd name="connsiteX3" fmla="*/ 1456797 w 1455658"/>
                <a:gd name="connsiteY3" fmla="*/ 7969 h 839394"/>
                <a:gd name="connsiteX4" fmla="*/ 14951 w 1455658"/>
                <a:gd name="connsiteY4" fmla="*/ 7969 h 839394"/>
                <a:gd name="connsiteX5" fmla="*/ 109516 w 1455658"/>
                <a:gd name="connsiteY5" fmla="*/ 493543 h 839394"/>
                <a:gd name="connsiteX6" fmla="*/ 123329 w 1455658"/>
                <a:gd name="connsiteY6" fmla="*/ 521168 h 83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5658" h="839394">
                  <a:moveTo>
                    <a:pt x="123329" y="521168"/>
                  </a:moveTo>
                  <a:cubicBezTo>
                    <a:pt x="123329" y="521168"/>
                    <a:pt x="212581" y="698610"/>
                    <a:pt x="390022" y="834613"/>
                  </a:cubicBezTo>
                  <a:lnTo>
                    <a:pt x="1455734" y="317163"/>
                  </a:lnTo>
                  <a:lnTo>
                    <a:pt x="1456797" y="7969"/>
                  </a:lnTo>
                  <a:lnTo>
                    <a:pt x="14951" y="7969"/>
                  </a:lnTo>
                  <a:cubicBezTo>
                    <a:pt x="-5237" y="145035"/>
                    <a:pt x="16014" y="307601"/>
                    <a:pt x="109516" y="493543"/>
                  </a:cubicBezTo>
                  <a:lnTo>
                    <a:pt x="123329" y="521168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4D4F9402-D548-4465-B31D-5C89E49D8F2D}"/>
                </a:ext>
              </a:extLst>
            </p:cNvPr>
            <p:cNvSpPr/>
            <p:nvPr/>
          </p:nvSpPr>
          <p:spPr>
            <a:xfrm>
              <a:off x="11124635" y="1146995"/>
              <a:ext cx="1062524" cy="743767"/>
            </a:xfrm>
            <a:custGeom>
              <a:avLst/>
              <a:gdLst>
                <a:gd name="connsiteX0" fmla="*/ 1064178 w 1062524"/>
                <a:gd name="connsiteY0" fmla="*/ 7969 h 743766"/>
                <a:gd name="connsiteX1" fmla="*/ 91968 w 1062524"/>
                <a:gd name="connsiteY1" fmla="*/ 480792 h 743766"/>
                <a:gd name="connsiteX2" fmla="*/ 22904 w 1062524"/>
                <a:gd name="connsiteY2" fmla="*/ 658234 h 743766"/>
                <a:gd name="connsiteX3" fmla="*/ 25029 w 1062524"/>
                <a:gd name="connsiteY3" fmla="*/ 663546 h 743766"/>
                <a:gd name="connsiteX4" fmla="*/ 209908 w 1062524"/>
                <a:gd name="connsiteY4" fmla="*/ 718798 h 743766"/>
                <a:gd name="connsiteX5" fmla="*/ 1064178 w 1062524"/>
                <a:gd name="connsiteY5" fmla="*/ 302288 h 743766"/>
                <a:gd name="connsiteX6" fmla="*/ 1064178 w 1062524"/>
                <a:gd name="connsiteY6" fmla="*/ 7969 h 743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2524" h="743766">
                  <a:moveTo>
                    <a:pt x="1064178" y="7969"/>
                  </a:moveTo>
                  <a:lnTo>
                    <a:pt x="91968" y="480792"/>
                  </a:lnTo>
                  <a:cubicBezTo>
                    <a:pt x="91968" y="480792"/>
                    <a:pt x="-34472" y="543481"/>
                    <a:pt x="22904" y="658234"/>
                  </a:cubicBezTo>
                  <a:lnTo>
                    <a:pt x="25029" y="663546"/>
                  </a:lnTo>
                  <a:cubicBezTo>
                    <a:pt x="25029" y="663546"/>
                    <a:pt x="82405" y="780424"/>
                    <a:pt x="209908" y="718798"/>
                  </a:cubicBezTo>
                  <a:lnTo>
                    <a:pt x="1064178" y="302288"/>
                  </a:lnTo>
                  <a:lnTo>
                    <a:pt x="1064178" y="7969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4C16800-96DF-4B5C-B15B-EB27E1475EB3}"/>
                </a:ext>
              </a:extLst>
            </p:cNvPr>
            <p:cNvSpPr/>
            <p:nvPr/>
          </p:nvSpPr>
          <p:spPr>
            <a:xfrm>
              <a:off x="11105057" y="1128932"/>
              <a:ext cx="1083775" cy="775643"/>
            </a:xfrm>
            <a:custGeom>
              <a:avLst/>
              <a:gdLst>
                <a:gd name="connsiteX0" fmla="*/ 219924 w 1083774"/>
                <a:gd name="connsiteY0" fmla="*/ 719860 h 775642"/>
                <a:gd name="connsiteX1" fmla="*/ 60545 w 1083774"/>
                <a:gd name="connsiteY1" fmla="*/ 674172 h 775642"/>
                <a:gd name="connsiteX2" fmla="*/ 58420 w 1083774"/>
                <a:gd name="connsiteY2" fmla="*/ 668859 h 775642"/>
                <a:gd name="connsiteX3" fmla="*/ 118984 w 1083774"/>
                <a:gd name="connsiteY3" fmla="*/ 515856 h 775642"/>
                <a:gd name="connsiteX4" fmla="*/ 1083756 w 1083774"/>
                <a:gd name="connsiteY4" fmla="*/ 48345 h 775642"/>
                <a:gd name="connsiteX5" fmla="*/ 1083756 w 1083774"/>
                <a:gd name="connsiteY5" fmla="*/ 7969 h 775642"/>
                <a:gd name="connsiteX6" fmla="*/ 103046 w 1083774"/>
                <a:gd name="connsiteY6" fmla="*/ 482917 h 775642"/>
                <a:gd name="connsiteX7" fmla="*/ 14856 w 1083774"/>
                <a:gd name="connsiteY7" fmla="*/ 578544 h 775642"/>
                <a:gd name="connsiteX8" fmla="*/ 24419 w 1083774"/>
                <a:gd name="connsiteY8" fmla="*/ 686922 h 775642"/>
                <a:gd name="connsiteX9" fmla="*/ 26544 w 1083774"/>
                <a:gd name="connsiteY9" fmla="*/ 692234 h 775642"/>
                <a:gd name="connsiteX10" fmla="*/ 157235 w 1083774"/>
                <a:gd name="connsiteY10" fmla="*/ 775111 h 775642"/>
                <a:gd name="connsiteX11" fmla="*/ 236924 w 1083774"/>
                <a:gd name="connsiteY11" fmla="*/ 754923 h 775642"/>
                <a:gd name="connsiteX12" fmla="*/ 1083756 w 1083774"/>
                <a:gd name="connsiteY12" fmla="*/ 344789 h 775642"/>
                <a:gd name="connsiteX13" fmla="*/ 1083756 w 1083774"/>
                <a:gd name="connsiteY13" fmla="*/ 301226 h 775642"/>
                <a:gd name="connsiteX14" fmla="*/ 219924 w 1083774"/>
                <a:gd name="connsiteY14" fmla="*/ 719860 h 77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83774" h="775642">
                  <a:moveTo>
                    <a:pt x="219924" y="719860"/>
                  </a:moveTo>
                  <a:cubicBezTo>
                    <a:pt x="112609" y="771924"/>
                    <a:pt x="65858" y="683734"/>
                    <a:pt x="60545" y="674172"/>
                  </a:cubicBezTo>
                  <a:lnTo>
                    <a:pt x="58420" y="668859"/>
                  </a:lnTo>
                  <a:cubicBezTo>
                    <a:pt x="9544" y="571107"/>
                    <a:pt x="114734" y="519043"/>
                    <a:pt x="118984" y="515856"/>
                  </a:cubicBezTo>
                  <a:lnTo>
                    <a:pt x="1083756" y="48345"/>
                  </a:lnTo>
                  <a:lnTo>
                    <a:pt x="1083756" y="7969"/>
                  </a:lnTo>
                  <a:lnTo>
                    <a:pt x="103046" y="482917"/>
                  </a:lnTo>
                  <a:cubicBezTo>
                    <a:pt x="100921" y="483980"/>
                    <a:pt x="36107" y="516918"/>
                    <a:pt x="14856" y="578544"/>
                  </a:cubicBezTo>
                  <a:cubicBezTo>
                    <a:pt x="3169" y="613608"/>
                    <a:pt x="6356" y="649733"/>
                    <a:pt x="24419" y="686922"/>
                  </a:cubicBezTo>
                  <a:lnTo>
                    <a:pt x="26544" y="692234"/>
                  </a:lnTo>
                  <a:cubicBezTo>
                    <a:pt x="44607" y="726235"/>
                    <a:pt x="88171" y="775111"/>
                    <a:pt x="157235" y="775111"/>
                  </a:cubicBezTo>
                  <a:cubicBezTo>
                    <a:pt x="180610" y="775111"/>
                    <a:pt x="207173" y="768736"/>
                    <a:pt x="236924" y="754923"/>
                  </a:cubicBezTo>
                  <a:lnTo>
                    <a:pt x="1083756" y="344789"/>
                  </a:lnTo>
                  <a:lnTo>
                    <a:pt x="1083756" y="301226"/>
                  </a:lnTo>
                  <a:lnTo>
                    <a:pt x="219924" y="71986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E9DBF7F-0A02-4C85-A28D-3C88C66B3486}"/>
                </a:ext>
              </a:extLst>
            </p:cNvPr>
            <p:cNvSpPr/>
            <p:nvPr/>
          </p:nvSpPr>
          <p:spPr>
            <a:xfrm>
              <a:off x="9994666" y="301226"/>
              <a:ext cx="2199425" cy="1636287"/>
            </a:xfrm>
            <a:custGeom>
              <a:avLst/>
              <a:gdLst>
                <a:gd name="connsiteX0" fmla="*/ 538733 w 2199425"/>
                <a:gd name="connsiteY0" fmla="*/ 1550754 h 1636287"/>
                <a:gd name="connsiteX1" fmla="*/ 86098 w 2199425"/>
                <a:gd name="connsiteY1" fmla="*/ 1428564 h 1636287"/>
                <a:gd name="connsiteX2" fmla="*/ 80785 w 2199425"/>
                <a:gd name="connsiteY2" fmla="*/ 1416876 h 1636287"/>
                <a:gd name="connsiteX3" fmla="*/ 115848 w 2199425"/>
                <a:gd name="connsiteY3" fmla="*/ 1102369 h 1636287"/>
                <a:gd name="connsiteX4" fmla="*/ 257164 w 2199425"/>
                <a:gd name="connsiteY4" fmla="*/ 988679 h 1636287"/>
                <a:gd name="connsiteX5" fmla="*/ 2193084 w 2199425"/>
                <a:gd name="connsiteY5" fmla="*/ 49407 h 1636287"/>
                <a:gd name="connsiteX6" fmla="*/ 2193084 w 2199425"/>
                <a:gd name="connsiteY6" fmla="*/ 7969 h 1636287"/>
                <a:gd name="connsiteX7" fmla="*/ 241226 w 2199425"/>
                <a:gd name="connsiteY7" fmla="*/ 954678 h 1636287"/>
                <a:gd name="connsiteX8" fmla="*/ 23409 w 2199425"/>
                <a:gd name="connsiteY8" fmla="*/ 1187371 h 1636287"/>
                <a:gd name="connsiteX9" fmla="*/ 47847 w 2199425"/>
                <a:gd name="connsiteY9" fmla="*/ 1433876 h 1636287"/>
                <a:gd name="connsiteX10" fmla="*/ 53160 w 2199425"/>
                <a:gd name="connsiteY10" fmla="*/ 1445564 h 1636287"/>
                <a:gd name="connsiteX11" fmla="*/ 358104 w 2199425"/>
                <a:gd name="connsiteY11" fmla="*/ 1635756 h 1636287"/>
                <a:gd name="connsiteX12" fmla="*/ 555734 w 2199425"/>
                <a:gd name="connsiteY12" fmla="*/ 1585817 h 1636287"/>
                <a:gd name="connsiteX13" fmla="*/ 2193084 w 2199425"/>
                <a:gd name="connsiteY13" fmla="*/ 789987 h 1636287"/>
                <a:gd name="connsiteX14" fmla="*/ 2193084 w 2199425"/>
                <a:gd name="connsiteY14" fmla="*/ 748548 h 1636287"/>
                <a:gd name="connsiteX15" fmla="*/ 538733 w 2199425"/>
                <a:gd name="connsiteY15" fmla="*/ 1550754 h 163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9425" h="1636287">
                  <a:moveTo>
                    <a:pt x="538733" y="1550754"/>
                  </a:moveTo>
                  <a:cubicBezTo>
                    <a:pt x="228476" y="1701633"/>
                    <a:pt x="90348" y="1439189"/>
                    <a:pt x="86098" y="1428564"/>
                  </a:cubicBezTo>
                  <a:lnTo>
                    <a:pt x="80785" y="1416876"/>
                  </a:lnTo>
                  <a:cubicBezTo>
                    <a:pt x="24471" y="1303186"/>
                    <a:pt x="35097" y="1196934"/>
                    <a:pt x="115848" y="1102369"/>
                  </a:cubicBezTo>
                  <a:cubicBezTo>
                    <a:pt x="176412" y="1030117"/>
                    <a:pt x="256102" y="989741"/>
                    <a:pt x="257164" y="988679"/>
                  </a:cubicBezTo>
                  <a:lnTo>
                    <a:pt x="2193084" y="49407"/>
                  </a:lnTo>
                  <a:lnTo>
                    <a:pt x="2193084" y="7969"/>
                  </a:lnTo>
                  <a:lnTo>
                    <a:pt x="241226" y="954678"/>
                  </a:lnTo>
                  <a:cubicBezTo>
                    <a:pt x="234851" y="958928"/>
                    <a:pt x="74410" y="1037555"/>
                    <a:pt x="23409" y="1187371"/>
                  </a:cubicBezTo>
                  <a:cubicBezTo>
                    <a:pt x="-3154" y="1265998"/>
                    <a:pt x="4283" y="1348875"/>
                    <a:pt x="47847" y="1433876"/>
                  </a:cubicBezTo>
                  <a:lnTo>
                    <a:pt x="53160" y="1445564"/>
                  </a:lnTo>
                  <a:cubicBezTo>
                    <a:pt x="53160" y="1447689"/>
                    <a:pt x="150912" y="1635756"/>
                    <a:pt x="358104" y="1635756"/>
                  </a:cubicBezTo>
                  <a:cubicBezTo>
                    <a:pt x="415480" y="1635756"/>
                    <a:pt x="481357" y="1621943"/>
                    <a:pt x="555734" y="1585817"/>
                  </a:cubicBezTo>
                  <a:lnTo>
                    <a:pt x="2193084" y="789987"/>
                  </a:lnTo>
                  <a:lnTo>
                    <a:pt x="2193084" y="748548"/>
                  </a:lnTo>
                  <a:lnTo>
                    <a:pt x="538733" y="155075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3" name="Graphic 54">
            <a:extLst>
              <a:ext uri="{FF2B5EF4-FFF2-40B4-BE49-F238E27FC236}">
                <a16:creationId xmlns:a16="http://schemas.microsoft.com/office/drawing/2014/main" id="{A1820133-6B1B-4297-8A79-2E89B2C7199B}"/>
              </a:ext>
            </a:extLst>
          </p:cNvPr>
          <p:cNvSpPr/>
          <p:nvPr/>
        </p:nvSpPr>
        <p:spPr>
          <a:xfrm>
            <a:off x="895660" y="2912161"/>
            <a:ext cx="2781900" cy="165305"/>
          </a:xfrm>
          <a:custGeom>
            <a:avLst/>
            <a:gdLst>
              <a:gd name="connsiteX0" fmla="*/ 2726257 w 2781900"/>
              <a:gd name="connsiteY0" fmla="*/ 158686 h 165304"/>
              <a:gd name="connsiteX1" fmla="*/ 65137 w 2781900"/>
              <a:gd name="connsiteY1" fmla="*/ 158686 h 165304"/>
              <a:gd name="connsiteX2" fmla="*/ 7717 w 2781900"/>
              <a:gd name="connsiteY2" fmla="*/ 83663 h 165304"/>
              <a:gd name="connsiteX3" fmla="*/ 7717 w 2781900"/>
              <a:gd name="connsiteY3" fmla="*/ 83663 h 165304"/>
              <a:gd name="connsiteX4" fmla="*/ 65137 w 2781900"/>
              <a:gd name="connsiteY4" fmla="*/ 9911 h 165304"/>
              <a:gd name="connsiteX5" fmla="*/ 2725267 w 2781900"/>
              <a:gd name="connsiteY5" fmla="*/ 9911 h 165304"/>
              <a:gd name="connsiteX6" fmla="*/ 2782687 w 2781900"/>
              <a:gd name="connsiteY6" fmla="*/ 83663 h 165304"/>
              <a:gd name="connsiteX7" fmla="*/ 2782687 w 2781900"/>
              <a:gd name="connsiteY7" fmla="*/ 83663 h 165304"/>
              <a:gd name="connsiteX8" fmla="*/ 2726257 w 2781900"/>
              <a:gd name="connsiteY8" fmla="*/ 158686 h 165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81900" h="165304">
                <a:moveTo>
                  <a:pt x="2726257" y="158686"/>
                </a:moveTo>
                <a:lnTo>
                  <a:pt x="65137" y="158686"/>
                </a:lnTo>
                <a:cubicBezTo>
                  <a:pt x="33457" y="158686"/>
                  <a:pt x="7717" y="124353"/>
                  <a:pt x="7717" y="83663"/>
                </a:cubicBezTo>
                <a:lnTo>
                  <a:pt x="7717" y="83663"/>
                </a:lnTo>
                <a:cubicBezTo>
                  <a:pt x="7717" y="42972"/>
                  <a:pt x="33457" y="9911"/>
                  <a:pt x="65137" y="9911"/>
                </a:cubicBezTo>
                <a:lnTo>
                  <a:pt x="2725267" y="9911"/>
                </a:lnTo>
                <a:cubicBezTo>
                  <a:pt x="2756947" y="9911"/>
                  <a:pt x="2782687" y="42972"/>
                  <a:pt x="2782687" y="83663"/>
                </a:cubicBezTo>
                <a:lnTo>
                  <a:pt x="2782687" y="83663"/>
                </a:lnTo>
                <a:cubicBezTo>
                  <a:pt x="2783677" y="124353"/>
                  <a:pt x="2757937" y="158686"/>
                  <a:pt x="2726257" y="158686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9899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01668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3767FEE9-DC75-4465-BA6B-06E00CF6A27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12190660" cy="5569499"/>
          </a:xfrm>
          <a:custGeom>
            <a:avLst/>
            <a:gdLst>
              <a:gd name="connsiteX0" fmla="*/ 0 w 12190660"/>
              <a:gd name="connsiteY0" fmla="*/ 0 h 5569499"/>
              <a:gd name="connsiteX1" fmla="*/ 10154649 w 12190660"/>
              <a:gd name="connsiteY1" fmla="*/ 0 h 5569499"/>
              <a:gd name="connsiteX2" fmla="*/ 7708389 w 12190660"/>
              <a:gd name="connsiteY2" fmla="*/ 1206619 h 5569499"/>
              <a:gd name="connsiteX3" fmla="*/ 7464525 w 12190660"/>
              <a:gd name="connsiteY3" fmla="*/ 1403488 h 5569499"/>
              <a:gd name="connsiteX4" fmla="*/ 7401019 w 12190660"/>
              <a:gd name="connsiteY4" fmla="*/ 1973774 h 5569499"/>
              <a:gd name="connsiteX5" fmla="*/ 7409910 w 12190660"/>
              <a:gd name="connsiteY5" fmla="*/ 1991556 h 5569499"/>
              <a:gd name="connsiteX6" fmla="*/ 7600428 w 12190660"/>
              <a:gd name="connsiteY6" fmla="*/ 2204937 h 5569499"/>
              <a:gd name="connsiteX7" fmla="*/ 7891287 w 12190660"/>
              <a:gd name="connsiteY7" fmla="*/ 2295116 h 5569499"/>
              <a:gd name="connsiteX8" fmla="*/ 8205008 w 12190660"/>
              <a:gd name="connsiteY8" fmla="*/ 2213828 h 5569499"/>
              <a:gd name="connsiteX9" fmla="*/ 12190660 w 12190660"/>
              <a:gd name="connsiteY9" fmla="*/ 248944 h 5569499"/>
              <a:gd name="connsiteX10" fmla="*/ 12190660 w 12190660"/>
              <a:gd name="connsiteY10" fmla="*/ 449624 h 5569499"/>
              <a:gd name="connsiteX11" fmla="*/ 10261340 w 12190660"/>
              <a:gd name="connsiteY11" fmla="*/ 1400948 h 5569499"/>
              <a:gd name="connsiteX12" fmla="*/ 9931108 w 12190660"/>
              <a:gd name="connsiteY12" fmla="*/ 1680375 h 5569499"/>
              <a:gd name="connsiteX13" fmla="*/ 9879032 w 12190660"/>
              <a:gd name="connsiteY13" fmla="*/ 2528819 h 5569499"/>
              <a:gd name="connsiteX14" fmla="*/ 9893004 w 12190660"/>
              <a:gd name="connsiteY14" fmla="*/ 2556762 h 5569499"/>
              <a:gd name="connsiteX15" fmla="*/ 10172431 w 12190660"/>
              <a:gd name="connsiteY15" fmla="*/ 2886994 h 5569499"/>
              <a:gd name="connsiteX16" fmla="*/ 10618245 w 12190660"/>
              <a:gd name="connsiteY16" fmla="*/ 3041950 h 5569499"/>
              <a:gd name="connsiteX17" fmla="*/ 11019604 w 12190660"/>
              <a:gd name="connsiteY17" fmla="*/ 2939069 h 5569499"/>
              <a:gd name="connsiteX18" fmla="*/ 12190660 w 12190660"/>
              <a:gd name="connsiteY18" fmla="*/ 2362433 h 5569499"/>
              <a:gd name="connsiteX19" fmla="*/ 12190660 w 12190660"/>
              <a:gd name="connsiteY19" fmla="*/ 5569499 h 5569499"/>
              <a:gd name="connsiteX20" fmla="*/ 0 w 12190660"/>
              <a:gd name="connsiteY20" fmla="*/ 5569499 h 5569499"/>
              <a:gd name="connsiteX21" fmla="*/ 0 w 12190660"/>
              <a:gd name="connsiteY21" fmla="*/ 4872200 h 5569499"/>
              <a:gd name="connsiteX22" fmla="*/ 1553363 w 12190660"/>
              <a:gd name="connsiteY22" fmla="*/ 4107584 h 5569499"/>
              <a:gd name="connsiteX23" fmla="*/ 1698157 w 12190660"/>
              <a:gd name="connsiteY23" fmla="*/ 3842128 h 5569499"/>
              <a:gd name="connsiteX24" fmla="*/ 1695617 w 12190660"/>
              <a:gd name="connsiteY24" fmla="*/ 3835778 h 5569499"/>
              <a:gd name="connsiteX25" fmla="*/ 1693077 w 12190660"/>
              <a:gd name="connsiteY25" fmla="*/ 3831968 h 5569499"/>
              <a:gd name="connsiteX26" fmla="*/ 2488175 w 12190660"/>
              <a:gd name="connsiteY26" fmla="*/ 3439499 h 5569499"/>
              <a:gd name="connsiteX27" fmla="*/ 2795545 w 12190660"/>
              <a:gd name="connsiteY27" fmla="*/ 2672343 h 5569499"/>
              <a:gd name="connsiteX28" fmla="*/ 2786654 w 12190660"/>
              <a:gd name="connsiteY28" fmla="*/ 2654561 h 5569499"/>
              <a:gd name="connsiteX29" fmla="*/ 1991556 w 12190660"/>
              <a:gd name="connsiteY29" fmla="*/ 2432290 h 5569499"/>
              <a:gd name="connsiteX30" fmla="*/ 0 w 12190660"/>
              <a:gd name="connsiteY30" fmla="*/ 3414096 h 5569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0660" h="5569499">
                <a:moveTo>
                  <a:pt x="0" y="0"/>
                </a:moveTo>
                <a:lnTo>
                  <a:pt x="10154649" y="0"/>
                </a:lnTo>
                <a:lnTo>
                  <a:pt x="7708389" y="1206619"/>
                </a:lnTo>
                <a:cubicBezTo>
                  <a:pt x="7703308" y="1210429"/>
                  <a:pt x="7569945" y="1276476"/>
                  <a:pt x="7464525" y="1403488"/>
                </a:cubicBezTo>
                <a:cubicBezTo>
                  <a:pt x="7365455" y="1522880"/>
                  <a:pt x="7275276" y="1718479"/>
                  <a:pt x="7401019" y="1973774"/>
                </a:cubicBezTo>
                <a:lnTo>
                  <a:pt x="7409910" y="1991556"/>
                </a:lnTo>
                <a:cubicBezTo>
                  <a:pt x="7412449" y="1996637"/>
                  <a:pt x="7472145" y="2117298"/>
                  <a:pt x="7600428" y="2204937"/>
                </a:cubicBezTo>
                <a:cubicBezTo>
                  <a:pt x="7669015" y="2251932"/>
                  <a:pt x="7766815" y="2295116"/>
                  <a:pt x="7891287" y="2295116"/>
                </a:cubicBezTo>
                <a:cubicBezTo>
                  <a:pt x="7981466" y="2295116"/>
                  <a:pt x="8085616" y="2272254"/>
                  <a:pt x="8205008" y="2213828"/>
                </a:cubicBezTo>
                <a:lnTo>
                  <a:pt x="12190660" y="248944"/>
                </a:lnTo>
                <a:lnTo>
                  <a:pt x="12190660" y="449624"/>
                </a:lnTo>
                <a:lnTo>
                  <a:pt x="10261340" y="1400948"/>
                </a:lnTo>
                <a:cubicBezTo>
                  <a:pt x="10253719" y="1404758"/>
                  <a:pt x="10070821" y="1496207"/>
                  <a:pt x="9931108" y="1680375"/>
                </a:cubicBezTo>
                <a:cubicBezTo>
                  <a:pt x="9801555" y="1853112"/>
                  <a:pt x="9687243" y="2138891"/>
                  <a:pt x="9879032" y="2528819"/>
                </a:cubicBezTo>
                <a:lnTo>
                  <a:pt x="9893004" y="2556762"/>
                </a:lnTo>
                <a:cubicBezTo>
                  <a:pt x="9896814" y="2564382"/>
                  <a:pt x="9988263" y="2747281"/>
                  <a:pt x="10172431" y="2886994"/>
                </a:cubicBezTo>
                <a:cubicBezTo>
                  <a:pt x="10277852" y="2967012"/>
                  <a:pt x="10427726" y="3041950"/>
                  <a:pt x="10618245" y="3041950"/>
                </a:cubicBezTo>
                <a:cubicBezTo>
                  <a:pt x="10736366" y="3041950"/>
                  <a:pt x="10869730" y="3012737"/>
                  <a:pt x="11019604" y="2939069"/>
                </a:cubicBezTo>
                <a:lnTo>
                  <a:pt x="12190660" y="2362433"/>
                </a:lnTo>
                <a:lnTo>
                  <a:pt x="12190660" y="5569499"/>
                </a:lnTo>
                <a:lnTo>
                  <a:pt x="0" y="5569499"/>
                </a:lnTo>
                <a:lnTo>
                  <a:pt x="0" y="4872200"/>
                </a:lnTo>
                <a:lnTo>
                  <a:pt x="1553363" y="4107584"/>
                </a:lnTo>
                <a:cubicBezTo>
                  <a:pt x="1553363" y="4107584"/>
                  <a:pt x="1775635" y="3998354"/>
                  <a:pt x="1698157" y="3842128"/>
                </a:cubicBezTo>
                <a:lnTo>
                  <a:pt x="1695617" y="3835778"/>
                </a:lnTo>
                <a:cubicBezTo>
                  <a:pt x="1695617" y="3835778"/>
                  <a:pt x="1694347" y="3834508"/>
                  <a:pt x="1693077" y="3831968"/>
                </a:cubicBezTo>
                <a:lnTo>
                  <a:pt x="2488175" y="3439499"/>
                </a:lnTo>
                <a:cubicBezTo>
                  <a:pt x="2493255" y="3435688"/>
                  <a:pt x="3036869" y="3161341"/>
                  <a:pt x="2795545" y="2672343"/>
                </a:cubicBezTo>
                <a:lnTo>
                  <a:pt x="2786654" y="2654561"/>
                </a:lnTo>
                <a:cubicBezTo>
                  <a:pt x="2784114" y="2649481"/>
                  <a:pt x="2536440" y="2163023"/>
                  <a:pt x="1991556" y="2432290"/>
                </a:cubicBezTo>
                <a:lnTo>
                  <a:pt x="0" y="3414096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ru-RU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3A0902BC-58E0-4395-9D80-6CF5CA0FAAB0}"/>
              </a:ext>
            </a:extLst>
          </p:cNvPr>
          <p:cNvSpPr/>
          <p:nvPr/>
        </p:nvSpPr>
        <p:spPr>
          <a:xfrm>
            <a:off x="7345849" y="-12701"/>
            <a:ext cx="4851878" cy="2298926"/>
          </a:xfrm>
          <a:custGeom>
            <a:avLst/>
            <a:gdLst>
              <a:gd name="connsiteX0" fmla="*/ 4844811 w 4851877"/>
              <a:gd name="connsiteY0" fmla="*/ 12701 h 2298926"/>
              <a:gd name="connsiteX1" fmla="*/ 2851985 w 4851877"/>
              <a:gd name="connsiteY1" fmla="*/ 12701 h 2298926"/>
              <a:gd name="connsiteX2" fmla="*/ 371430 w 4851877"/>
              <a:gd name="connsiteY2" fmla="*/ 1235832 h 2298926"/>
              <a:gd name="connsiteX3" fmla="*/ 72951 w 4851877"/>
              <a:gd name="connsiteY3" fmla="*/ 1977585 h 2298926"/>
              <a:gd name="connsiteX4" fmla="*/ 81842 w 4851877"/>
              <a:gd name="connsiteY4" fmla="*/ 1995367 h 2298926"/>
              <a:gd name="connsiteX5" fmla="*/ 851538 w 4851877"/>
              <a:gd name="connsiteY5" fmla="*/ 2210018 h 2298926"/>
              <a:gd name="connsiteX6" fmla="*/ 4844811 w 4851877"/>
              <a:gd name="connsiteY6" fmla="*/ 240054 h 2298926"/>
              <a:gd name="connsiteX7" fmla="*/ 4844811 w 4851877"/>
              <a:gd name="connsiteY7" fmla="*/ 12701 h 2298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851877" h="2298926">
                <a:moveTo>
                  <a:pt x="4844811" y="12701"/>
                </a:moveTo>
                <a:lnTo>
                  <a:pt x="2851985" y="12701"/>
                </a:lnTo>
                <a:lnTo>
                  <a:pt x="371430" y="1235832"/>
                </a:lnTo>
                <a:cubicBezTo>
                  <a:pt x="371430" y="1235832"/>
                  <a:pt x="-163292" y="1500018"/>
                  <a:pt x="72951" y="1977585"/>
                </a:cubicBezTo>
                <a:lnTo>
                  <a:pt x="81842" y="1995367"/>
                </a:lnTo>
                <a:cubicBezTo>
                  <a:pt x="81842" y="1995367"/>
                  <a:pt x="316815" y="2472934"/>
                  <a:pt x="851538" y="2210018"/>
                </a:cubicBezTo>
                <a:lnTo>
                  <a:pt x="4844811" y="240054"/>
                </a:lnTo>
                <a:lnTo>
                  <a:pt x="4844811" y="12701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5DCE3DA5-C000-4DAD-8FCD-9A285AB48C83}"/>
              </a:ext>
            </a:extLst>
          </p:cNvPr>
          <p:cNvSpPr/>
          <p:nvPr/>
        </p:nvSpPr>
        <p:spPr>
          <a:xfrm>
            <a:off x="9782306" y="458515"/>
            <a:ext cx="2413238" cy="2578354"/>
          </a:xfrm>
          <a:custGeom>
            <a:avLst/>
            <a:gdLst>
              <a:gd name="connsiteX0" fmla="*/ 2408354 w 2413237"/>
              <a:gd name="connsiteY0" fmla="*/ 12701 h 2578353"/>
              <a:gd name="connsiteX1" fmla="*/ 487924 w 2413237"/>
              <a:gd name="connsiteY1" fmla="*/ 960215 h 2578353"/>
              <a:gd name="connsiteX2" fmla="*/ 113238 w 2413237"/>
              <a:gd name="connsiteY2" fmla="*/ 2062683 h 2578353"/>
              <a:gd name="connsiteX3" fmla="*/ 127209 w 2413237"/>
              <a:gd name="connsiteY3" fmla="*/ 2090626 h 2578353"/>
              <a:gd name="connsiteX4" fmla="*/ 1229678 w 2413237"/>
              <a:gd name="connsiteY4" fmla="*/ 2465313 h 2578353"/>
              <a:gd name="connsiteX5" fmla="*/ 2408354 w 2413237"/>
              <a:gd name="connsiteY5" fmla="*/ 1883595 h 2578353"/>
              <a:gd name="connsiteX6" fmla="*/ 2408354 w 2413237"/>
              <a:gd name="connsiteY6" fmla="*/ 12701 h 2578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13237" h="2578353">
                <a:moveTo>
                  <a:pt x="2408354" y="12701"/>
                </a:moveTo>
                <a:lnTo>
                  <a:pt x="487924" y="960215"/>
                </a:lnTo>
                <a:cubicBezTo>
                  <a:pt x="487924" y="960215"/>
                  <a:pt x="-250018" y="1324740"/>
                  <a:pt x="113238" y="2062683"/>
                </a:cubicBezTo>
                <a:lnTo>
                  <a:pt x="127209" y="2090626"/>
                </a:lnTo>
                <a:cubicBezTo>
                  <a:pt x="127209" y="2090626"/>
                  <a:pt x="491735" y="2828568"/>
                  <a:pt x="1229678" y="2465313"/>
                </a:cubicBezTo>
                <a:lnTo>
                  <a:pt x="2408354" y="1883595"/>
                </a:lnTo>
                <a:lnTo>
                  <a:pt x="2408354" y="12701"/>
                </a:lnTo>
                <a:close/>
              </a:path>
            </a:pathLst>
          </a:custGeom>
          <a:solidFill>
            <a:schemeClr val="accent3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EAE88C29-9AC8-4A6D-9141-98B2210C7466}"/>
              </a:ext>
            </a:extLst>
          </p:cNvPr>
          <p:cNvSpPr/>
          <p:nvPr/>
        </p:nvSpPr>
        <p:spPr>
          <a:xfrm>
            <a:off x="-12701" y="2355829"/>
            <a:ext cx="2857781" cy="2298926"/>
          </a:xfrm>
          <a:custGeom>
            <a:avLst/>
            <a:gdLst>
              <a:gd name="connsiteX0" fmla="*/ 2782844 w 2857781"/>
              <a:gd name="connsiteY0" fmla="*/ 306353 h 2298926"/>
              <a:gd name="connsiteX1" fmla="*/ 2013148 w 2857781"/>
              <a:gd name="connsiteY1" fmla="*/ 91702 h 2298926"/>
              <a:gd name="connsiteX2" fmla="*/ 12701 w 2857781"/>
              <a:gd name="connsiteY2" fmla="*/ 1078589 h 2298926"/>
              <a:gd name="connsiteX3" fmla="*/ 12701 w 2857781"/>
              <a:gd name="connsiteY3" fmla="*/ 2289019 h 2298926"/>
              <a:gd name="connsiteX4" fmla="*/ 2491985 w 2857781"/>
              <a:gd name="connsiteY4" fmla="*/ 1065888 h 2298926"/>
              <a:gd name="connsiteX5" fmla="*/ 2790465 w 2857781"/>
              <a:gd name="connsiteY5" fmla="*/ 324135 h 2298926"/>
              <a:gd name="connsiteX6" fmla="*/ 2782844 w 2857781"/>
              <a:gd name="connsiteY6" fmla="*/ 306353 h 2298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7781" h="2298926">
                <a:moveTo>
                  <a:pt x="2782844" y="306353"/>
                </a:moveTo>
                <a:cubicBezTo>
                  <a:pt x="2782844" y="306353"/>
                  <a:pt x="2547871" y="-171214"/>
                  <a:pt x="2013148" y="91702"/>
                </a:cubicBezTo>
                <a:lnTo>
                  <a:pt x="12701" y="1078589"/>
                </a:lnTo>
                <a:lnTo>
                  <a:pt x="12701" y="2289019"/>
                </a:lnTo>
                <a:lnTo>
                  <a:pt x="2491985" y="1065888"/>
                </a:lnTo>
                <a:cubicBezTo>
                  <a:pt x="2491985" y="1065888"/>
                  <a:pt x="3026708" y="801702"/>
                  <a:pt x="2790465" y="324135"/>
                </a:cubicBezTo>
                <a:lnTo>
                  <a:pt x="2782844" y="306353"/>
                </a:lnTo>
                <a:close/>
              </a:path>
            </a:pathLst>
          </a:custGeom>
          <a:solidFill>
            <a:schemeClr val="accent3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7F8CA5B8-0BAD-4554-87FE-E0910E6CD5C5}"/>
              </a:ext>
            </a:extLst>
          </p:cNvPr>
          <p:cNvSpPr/>
          <p:nvPr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Graphic 12">
            <a:extLst>
              <a:ext uri="{FF2B5EF4-FFF2-40B4-BE49-F238E27FC236}">
                <a16:creationId xmlns:a16="http://schemas.microsoft.com/office/drawing/2014/main" id="{12CBB0CF-5FCC-4507-BD7B-C02386D2A23C}"/>
              </a:ext>
            </a:extLst>
          </p:cNvPr>
          <p:cNvSpPr/>
          <p:nvPr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9CB2BB-1ED9-489E-8AC7-2A8D8459E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349863"/>
            <a:ext cx="10515600" cy="782638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BIG IMAGE</a:t>
            </a:r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C208BCD-3B7E-49DF-8BF5-68AE9DD7D7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238811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1517C1-CBB7-46B0-99AA-8512104026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757CD-3B46-4C63-B887-90DD93699826}" type="slidenum">
              <a:rPr lang="en-GB" smtClean="0"/>
              <a:t>‹#›</a:t>
            </a:fld>
            <a:endParaRPr lang="en-GB"/>
          </a:p>
        </p:txBody>
      </p:sp>
      <p:sp>
        <p:nvSpPr>
          <p:cNvPr id="21" name="Text Placeholder 26">
            <a:extLst>
              <a:ext uri="{FF2B5EF4-FFF2-40B4-BE49-F238E27FC236}">
                <a16:creationId xmlns:a16="http://schemas.microsoft.com/office/drawing/2014/main" id="{78B29DA7-7E72-4576-8F68-91B70D11C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12987" y="5718810"/>
            <a:ext cx="7366026" cy="946532"/>
          </a:xfrm>
        </p:spPr>
        <p:txBody>
          <a:bodyPr>
            <a:noAutofit/>
          </a:bodyPr>
          <a:lstStyle>
            <a:lvl1pPr marL="0" indent="0" algn="ctr">
              <a:buNone/>
              <a:defRPr sz="1800" b="1" i="0"/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091E01B-B80B-4194-AC2B-41043EC597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62500" y="5155439"/>
            <a:ext cx="2667000" cy="139903"/>
          </a:xfrm>
          <a:prstGeom prst="rect">
            <a:avLst/>
          </a:pr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FBE26926-54A6-49D3-95EA-F31F133A0E3B}"/>
              </a:ext>
            </a:extLst>
          </p:cNvPr>
          <p:cNvSpPr/>
          <p:nvPr/>
        </p:nvSpPr>
        <p:spPr>
          <a:xfrm>
            <a:off x="8826099" y="2044901"/>
            <a:ext cx="736673" cy="736673"/>
          </a:xfrm>
          <a:custGeom>
            <a:avLst/>
            <a:gdLst>
              <a:gd name="connsiteX0" fmla="*/ 372146 w 736672"/>
              <a:gd name="connsiteY0" fmla="*/ 731592 h 736672"/>
              <a:gd name="connsiteX1" fmla="*/ 731592 w 736672"/>
              <a:gd name="connsiteY1" fmla="*/ 372147 h 736672"/>
              <a:gd name="connsiteX2" fmla="*/ 372146 w 736672"/>
              <a:gd name="connsiteY2" fmla="*/ 12701 h 736672"/>
              <a:gd name="connsiteX3" fmla="*/ 12701 w 736672"/>
              <a:gd name="connsiteY3" fmla="*/ 372147 h 736672"/>
              <a:gd name="connsiteX4" fmla="*/ 372146 w 736672"/>
              <a:gd name="connsiteY4" fmla="*/ 731592 h 736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6672" h="736672">
                <a:moveTo>
                  <a:pt x="372146" y="731592"/>
                </a:moveTo>
                <a:cubicBezTo>
                  <a:pt x="570286" y="731592"/>
                  <a:pt x="731592" y="570286"/>
                  <a:pt x="731592" y="372147"/>
                </a:cubicBezTo>
                <a:cubicBezTo>
                  <a:pt x="731592" y="174007"/>
                  <a:pt x="570286" y="12701"/>
                  <a:pt x="372146" y="12701"/>
                </a:cubicBezTo>
                <a:cubicBezTo>
                  <a:pt x="174007" y="12701"/>
                  <a:pt x="12701" y="174007"/>
                  <a:pt x="12701" y="372147"/>
                </a:cubicBezTo>
                <a:cubicBezTo>
                  <a:pt x="12701" y="570286"/>
                  <a:pt x="174007" y="731592"/>
                  <a:pt x="372146" y="731592"/>
                </a:cubicBezTo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C3AFCA09-1411-4603-AEED-DBD79C4BE2CA}"/>
              </a:ext>
            </a:extLst>
          </p:cNvPr>
          <p:cNvSpPr/>
          <p:nvPr/>
        </p:nvSpPr>
        <p:spPr>
          <a:xfrm>
            <a:off x="8810222" y="2029025"/>
            <a:ext cx="774776" cy="774776"/>
          </a:xfrm>
          <a:custGeom>
            <a:avLst/>
            <a:gdLst>
              <a:gd name="connsiteX0" fmla="*/ 388023 w 774776"/>
              <a:gd name="connsiteY0" fmla="*/ 766521 h 774776"/>
              <a:gd name="connsiteX1" fmla="*/ 9526 w 774776"/>
              <a:gd name="connsiteY1" fmla="*/ 388023 h 774776"/>
              <a:gd name="connsiteX2" fmla="*/ 388023 w 774776"/>
              <a:gd name="connsiteY2" fmla="*/ 9526 h 774776"/>
              <a:gd name="connsiteX3" fmla="*/ 766520 w 774776"/>
              <a:gd name="connsiteY3" fmla="*/ 388023 h 774776"/>
              <a:gd name="connsiteX4" fmla="*/ 388023 w 774776"/>
              <a:gd name="connsiteY4" fmla="*/ 766521 h 774776"/>
              <a:gd name="connsiteX5" fmla="*/ 388023 w 774776"/>
              <a:gd name="connsiteY5" fmla="*/ 48900 h 774776"/>
              <a:gd name="connsiteX6" fmla="*/ 47630 w 774776"/>
              <a:gd name="connsiteY6" fmla="*/ 389293 h 774776"/>
              <a:gd name="connsiteX7" fmla="*/ 388023 w 774776"/>
              <a:gd name="connsiteY7" fmla="*/ 729687 h 774776"/>
              <a:gd name="connsiteX8" fmla="*/ 728416 w 774776"/>
              <a:gd name="connsiteY8" fmla="*/ 389293 h 774776"/>
              <a:gd name="connsiteX9" fmla="*/ 388023 w 774776"/>
              <a:gd name="connsiteY9" fmla="*/ 48900 h 774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74776" h="774776">
                <a:moveTo>
                  <a:pt x="388023" y="766521"/>
                </a:moveTo>
                <a:cubicBezTo>
                  <a:pt x="179722" y="766521"/>
                  <a:pt x="9526" y="596324"/>
                  <a:pt x="9526" y="388023"/>
                </a:cubicBezTo>
                <a:cubicBezTo>
                  <a:pt x="9526" y="179723"/>
                  <a:pt x="179722" y="9526"/>
                  <a:pt x="388023" y="9526"/>
                </a:cubicBezTo>
                <a:cubicBezTo>
                  <a:pt x="596323" y="9526"/>
                  <a:pt x="766520" y="179723"/>
                  <a:pt x="766520" y="388023"/>
                </a:cubicBezTo>
                <a:cubicBezTo>
                  <a:pt x="766520" y="596324"/>
                  <a:pt x="596323" y="766521"/>
                  <a:pt x="388023" y="766521"/>
                </a:cubicBezTo>
                <a:close/>
                <a:moveTo>
                  <a:pt x="388023" y="48900"/>
                </a:moveTo>
                <a:cubicBezTo>
                  <a:pt x="200045" y="48900"/>
                  <a:pt x="47630" y="201315"/>
                  <a:pt x="47630" y="389293"/>
                </a:cubicBezTo>
                <a:cubicBezTo>
                  <a:pt x="47630" y="577272"/>
                  <a:pt x="200045" y="729687"/>
                  <a:pt x="388023" y="729687"/>
                </a:cubicBezTo>
                <a:cubicBezTo>
                  <a:pt x="576001" y="729687"/>
                  <a:pt x="728416" y="577272"/>
                  <a:pt x="728416" y="389293"/>
                </a:cubicBezTo>
                <a:cubicBezTo>
                  <a:pt x="728416" y="201315"/>
                  <a:pt x="576001" y="48900"/>
                  <a:pt x="388023" y="4890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7E4E0103-B430-4F31-B26F-21E197A41135}"/>
              </a:ext>
            </a:extLst>
          </p:cNvPr>
          <p:cNvSpPr/>
          <p:nvPr/>
        </p:nvSpPr>
        <p:spPr>
          <a:xfrm>
            <a:off x="7329938" y="-9526"/>
            <a:ext cx="4864579" cy="2311628"/>
          </a:xfrm>
          <a:custGeom>
            <a:avLst/>
            <a:gdLst>
              <a:gd name="connsiteX0" fmla="*/ 2911080 w 4864578"/>
              <a:gd name="connsiteY0" fmla="*/ 9526 h 2311627"/>
              <a:gd name="connsiteX1" fmla="*/ 2824712 w 4864578"/>
              <a:gd name="connsiteY1" fmla="*/ 9526 h 2311627"/>
              <a:gd name="connsiteX2" fmla="*/ 378451 w 4864578"/>
              <a:gd name="connsiteY2" fmla="*/ 1216145 h 2311627"/>
              <a:gd name="connsiteX3" fmla="*/ 134587 w 4864578"/>
              <a:gd name="connsiteY3" fmla="*/ 1413014 h 2311627"/>
              <a:gd name="connsiteX4" fmla="*/ 71081 w 4864578"/>
              <a:gd name="connsiteY4" fmla="*/ 1983300 h 2311627"/>
              <a:gd name="connsiteX5" fmla="*/ 79972 w 4864578"/>
              <a:gd name="connsiteY5" fmla="*/ 2001082 h 2311627"/>
              <a:gd name="connsiteX6" fmla="*/ 270491 w 4864578"/>
              <a:gd name="connsiteY6" fmla="*/ 2214463 h 2311627"/>
              <a:gd name="connsiteX7" fmla="*/ 561349 w 4864578"/>
              <a:gd name="connsiteY7" fmla="*/ 2304642 h 2311627"/>
              <a:gd name="connsiteX8" fmla="*/ 875070 w 4864578"/>
              <a:gd name="connsiteY8" fmla="*/ 2223354 h 2311627"/>
              <a:gd name="connsiteX9" fmla="*/ 4860722 w 4864578"/>
              <a:gd name="connsiteY9" fmla="*/ 258470 h 2311627"/>
              <a:gd name="connsiteX10" fmla="*/ 4860722 w 4864578"/>
              <a:gd name="connsiteY10" fmla="*/ 216556 h 2311627"/>
              <a:gd name="connsiteX11" fmla="*/ 858558 w 4864578"/>
              <a:gd name="connsiteY11" fmla="*/ 2189061 h 2311627"/>
              <a:gd name="connsiteX12" fmla="*/ 293353 w 4864578"/>
              <a:gd name="connsiteY12" fmla="*/ 2182710 h 2311627"/>
              <a:gd name="connsiteX13" fmla="*/ 114265 w 4864578"/>
              <a:gd name="connsiteY13" fmla="*/ 1983300 h 2311627"/>
              <a:gd name="connsiteX14" fmla="*/ 105374 w 4864578"/>
              <a:gd name="connsiteY14" fmla="*/ 1965519 h 2311627"/>
              <a:gd name="connsiteX15" fmla="*/ 163800 w 4864578"/>
              <a:gd name="connsiteY15" fmla="*/ 1437147 h 2311627"/>
              <a:gd name="connsiteX16" fmla="*/ 396233 w 4864578"/>
              <a:gd name="connsiteY16" fmla="*/ 1249168 h 2311627"/>
              <a:gd name="connsiteX17" fmla="*/ 396233 w 4864578"/>
              <a:gd name="connsiteY17" fmla="*/ 1249168 h 2311627"/>
              <a:gd name="connsiteX18" fmla="*/ 2911080 w 4864578"/>
              <a:gd name="connsiteY18" fmla="*/ 9526 h 2311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864578" h="2311627">
                <a:moveTo>
                  <a:pt x="2911080" y="9526"/>
                </a:moveTo>
                <a:lnTo>
                  <a:pt x="2824712" y="9526"/>
                </a:lnTo>
                <a:lnTo>
                  <a:pt x="378451" y="1216145"/>
                </a:lnTo>
                <a:cubicBezTo>
                  <a:pt x="373371" y="1218685"/>
                  <a:pt x="240007" y="1284732"/>
                  <a:pt x="134587" y="1413014"/>
                </a:cubicBezTo>
                <a:cubicBezTo>
                  <a:pt x="35518" y="1532406"/>
                  <a:pt x="-54662" y="1728005"/>
                  <a:pt x="71081" y="1983300"/>
                </a:cubicBezTo>
                <a:lnTo>
                  <a:pt x="79972" y="2001082"/>
                </a:lnTo>
                <a:cubicBezTo>
                  <a:pt x="82512" y="2006163"/>
                  <a:pt x="142208" y="2125554"/>
                  <a:pt x="270491" y="2214463"/>
                </a:cubicBezTo>
                <a:cubicBezTo>
                  <a:pt x="339077" y="2261458"/>
                  <a:pt x="436877" y="2304642"/>
                  <a:pt x="561349" y="2304642"/>
                </a:cubicBezTo>
                <a:cubicBezTo>
                  <a:pt x="651528" y="2304642"/>
                  <a:pt x="755678" y="2283050"/>
                  <a:pt x="875070" y="2223354"/>
                </a:cubicBezTo>
                <a:lnTo>
                  <a:pt x="4860722" y="258470"/>
                </a:lnTo>
                <a:lnTo>
                  <a:pt x="4860722" y="216556"/>
                </a:lnTo>
                <a:lnTo>
                  <a:pt x="858558" y="2189061"/>
                </a:lnTo>
                <a:cubicBezTo>
                  <a:pt x="643907" y="2294481"/>
                  <a:pt x="454659" y="2293211"/>
                  <a:pt x="293353" y="2182710"/>
                </a:cubicBezTo>
                <a:cubicBezTo>
                  <a:pt x="172691" y="2100152"/>
                  <a:pt x="114265" y="1984570"/>
                  <a:pt x="114265" y="1983300"/>
                </a:cubicBezTo>
                <a:lnTo>
                  <a:pt x="105374" y="1965519"/>
                </a:lnTo>
                <a:cubicBezTo>
                  <a:pt x="11385" y="1775000"/>
                  <a:pt x="30437" y="1597182"/>
                  <a:pt x="163800" y="1437147"/>
                </a:cubicBezTo>
                <a:cubicBezTo>
                  <a:pt x="264140" y="1315215"/>
                  <a:pt x="394963" y="1250438"/>
                  <a:pt x="396233" y="1249168"/>
                </a:cubicBezTo>
                <a:lnTo>
                  <a:pt x="396233" y="1249168"/>
                </a:lnTo>
                <a:lnTo>
                  <a:pt x="2911080" y="9526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65525C01-736F-4E07-B20A-72ABE0F38C9F}"/>
              </a:ext>
            </a:extLst>
          </p:cNvPr>
          <p:cNvSpPr/>
          <p:nvPr/>
        </p:nvSpPr>
        <p:spPr>
          <a:xfrm>
            <a:off x="9766949" y="442639"/>
            <a:ext cx="2425939" cy="2603756"/>
          </a:xfrm>
          <a:custGeom>
            <a:avLst/>
            <a:gdLst>
              <a:gd name="connsiteX0" fmla="*/ 2423711 w 2425938"/>
              <a:gd name="connsiteY0" fmla="*/ 1877880 h 2603756"/>
              <a:gd name="connsiteX1" fmla="*/ 1236144 w 2425938"/>
              <a:gd name="connsiteY1" fmla="*/ 2463408 h 2603756"/>
              <a:gd name="connsiteX2" fmla="*/ 429615 w 2425938"/>
              <a:gd name="connsiteY2" fmla="*/ 2415143 h 2603756"/>
              <a:gd name="connsiteX3" fmla="*/ 160348 w 2425938"/>
              <a:gd name="connsiteY3" fmla="*/ 2097612 h 2603756"/>
              <a:gd name="connsiteX4" fmla="*/ 146377 w 2425938"/>
              <a:gd name="connsiteY4" fmla="*/ 2069669 h 2603756"/>
              <a:gd name="connsiteX5" fmla="*/ 194642 w 2425938"/>
              <a:gd name="connsiteY5" fmla="*/ 1263139 h 2603756"/>
              <a:gd name="connsiteX6" fmla="*/ 512173 w 2425938"/>
              <a:gd name="connsiteY6" fmla="*/ 993873 h 2603756"/>
              <a:gd name="connsiteX7" fmla="*/ 2423711 w 2425938"/>
              <a:gd name="connsiteY7" fmla="*/ 51440 h 2603756"/>
              <a:gd name="connsiteX8" fmla="*/ 2423711 w 2425938"/>
              <a:gd name="connsiteY8" fmla="*/ 9526 h 2603756"/>
              <a:gd name="connsiteX9" fmla="*/ 494391 w 2425938"/>
              <a:gd name="connsiteY9" fmla="*/ 960850 h 2603756"/>
              <a:gd name="connsiteX10" fmla="*/ 164159 w 2425938"/>
              <a:gd name="connsiteY10" fmla="*/ 1240277 h 2603756"/>
              <a:gd name="connsiteX11" fmla="*/ 112083 w 2425938"/>
              <a:gd name="connsiteY11" fmla="*/ 2088721 h 2603756"/>
              <a:gd name="connsiteX12" fmla="*/ 126055 w 2425938"/>
              <a:gd name="connsiteY12" fmla="*/ 2116664 h 2603756"/>
              <a:gd name="connsiteX13" fmla="*/ 405483 w 2425938"/>
              <a:gd name="connsiteY13" fmla="*/ 2446896 h 2603756"/>
              <a:gd name="connsiteX14" fmla="*/ 851296 w 2425938"/>
              <a:gd name="connsiteY14" fmla="*/ 2601851 h 2603756"/>
              <a:gd name="connsiteX15" fmla="*/ 1252656 w 2425938"/>
              <a:gd name="connsiteY15" fmla="*/ 2498971 h 2603756"/>
              <a:gd name="connsiteX16" fmla="*/ 2422441 w 2425938"/>
              <a:gd name="connsiteY16" fmla="*/ 1922334 h 2603756"/>
              <a:gd name="connsiteX17" fmla="*/ 2422441 w 2425938"/>
              <a:gd name="connsiteY17" fmla="*/ 1877880 h 2603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425938" h="2603756">
                <a:moveTo>
                  <a:pt x="2423711" y="1877880"/>
                </a:moveTo>
                <a:lnTo>
                  <a:pt x="1236144" y="2463408"/>
                </a:lnTo>
                <a:cubicBezTo>
                  <a:pt x="937665" y="2610742"/>
                  <a:pt x="665858" y="2594231"/>
                  <a:pt x="429615" y="2415143"/>
                </a:cubicBezTo>
                <a:cubicBezTo>
                  <a:pt x="251797" y="2280510"/>
                  <a:pt x="160348" y="2098882"/>
                  <a:pt x="160348" y="2097612"/>
                </a:cubicBezTo>
                <a:lnTo>
                  <a:pt x="146377" y="2069669"/>
                </a:lnTo>
                <a:cubicBezTo>
                  <a:pt x="-957" y="1771190"/>
                  <a:pt x="15554" y="1499383"/>
                  <a:pt x="194642" y="1263139"/>
                </a:cubicBezTo>
                <a:cubicBezTo>
                  <a:pt x="329275" y="1085322"/>
                  <a:pt x="509632" y="995143"/>
                  <a:pt x="512173" y="993873"/>
                </a:cubicBezTo>
                <a:lnTo>
                  <a:pt x="2423711" y="51440"/>
                </a:lnTo>
                <a:lnTo>
                  <a:pt x="2423711" y="9526"/>
                </a:lnTo>
                <a:lnTo>
                  <a:pt x="494391" y="960850"/>
                </a:lnTo>
                <a:cubicBezTo>
                  <a:pt x="486770" y="964660"/>
                  <a:pt x="303873" y="1056109"/>
                  <a:pt x="164159" y="1240277"/>
                </a:cubicBezTo>
                <a:cubicBezTo>
                  <a:pt x="34606" y="1411744"/>
                  <a:pt x="-80976" y="1697522"/>
                  <a:pt x="112083" y="2088721"/>
                </a:cubicBezTo>
                <a:lnTo>
                  <a:pt x="126055" y="2116664"/>
                </a:lnTo>
                <a:cubicBezTo>
                  <a:pt x="129865" y="2124284"/>
                  <a:pt x="221315" y="2307182"/>
                  <a:pt x="405483" y="2446896"/>
                </a:cubicBezTo>
                <a:cubicBezTo>
                  <a:pt x="510903" y="2526914"/>
                  <a:pt x="660778" y="2601851"/>
                  <a:pt x="851296" y="2601851"/>
                </a:cubicBezTo>
                <a:cubicBezTo>
                  <a:pt x="969418" y="2601851"/>
                  <a:pt x="1104052" y="2572638"/>
                  <a:pt x="1252656" y="2498971"/>
                </a:cubicBezTo>
                <a:lnTo>
                  <a:pt x="2422441" y="1922334"/>
                </a:lnTo>
                <a:lnTo>
                  <a:pt x="2422441" y="1877880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49472789-B79C-464F-9D88-E51F8B5062D3}"/>
              </a:ext>
            </a:extLst>
          </p:cNvPr>
          <p:cNvSpPr/>
          <p:nvPr/>
        </p:nvSpPr>
        <p:spPr>
          <a:xfrm>
            <a:off x="-9526" y="2340318"/>
            <a:ext cx="2870483" cy="2540250"/>
          </a:xfrm>
          <a:custGeom>
            <a:avLst/>
            <a:gdLst>
              <a:gd name="connsiteX0" fmla="*/ 2481189 w 2870482"/>
              <a:gd name="connsiteY0" fmla="*/ 1064887 h 2540250"/>
              <a:gd name="connsiteX1" fmla="*/ 1678470 w 2870482"/>
              <a:gd name="connsiteY1" fmla="*/ 1461166 h 2540250"/>
              <a:gd name="connsiteX2" fmla="*/ 1406664 w 2870482"/>
              <a:gd name="connsiteY2" fmla="*/ 1448465 h 2540250"/>
              <a:gd name="connsiteX3" fmla="*/ 9526 w 2870482"/>
              <a:gd name="connsiteY3" fmla="*/ 2136873 h 2540250"/>
              <a:gd name="connsiteX4" fmla="*/ 9526 w 2870482"/>
              <a:gd name="connsiteY4" fmla="*/ 2531882 h 2540250"/>
              <a:gd name="connsiteX5" fmla="*/ 1564159 w 2870482"/>
              <a:gd name="connsiteY5" fmla="*/ 1765996 h 2540250"/>
              <a:gd name="connsiteX6" fmla="*/ 1708953 w 2870482"/>
              <a:gd name="connsiteY6" fmla="*/ 1500540 h 2540250"/>
              <a:gd name="connsiteX7" fmla="*/ 1706413 w 2870482"/>
              <a:gd name="connsiteY7" fmla="*/ 1494189 h 2540250"/>
              <a:gd name="connsiteX8" fmla="*/ 1703873 w 2870482"/>
              <a:gd name="connsiteY8" fmla="*/ 1490379 h 2540250"/>
              <a:gd name="connsiteX9" fmla="*/ 2498971 w 2870482"/>
              <a:gd name="connsiteY9" fmla="*/ 1097910 h 2540250"/>
              <a:gd name="connsiteX10" fmla="*/ 2806341 w 2870482"/>
              <a:gd name="connsiteY10" fmla="*/ 330755 h 2540250"/>
              <a:gd name="connsiteX11" fmla="*/ 2797450 w 2870482"/>
              <a:gd name="connsiteY11" fmla="*/ 312973 h 2540250"/>
              <a:gd name="connsiteX12" fmla="*/ 2002352 w 2870482"/>
              <a:gd name="connsiteY12" fmla="*/ 90701 h 2540250"/>
              <a:gd name="connsiteX13" fmla="*/ 9526 w 2870482"/>
              <a:gd name="connsiteY13" fmla="*/ 1073778 h 2540250"/>
              <a:gd name="connsiteX14" fmla="*/ 9526 w 2870482"/>
              <a:gd name="connsiteY14" fmla="*/ 1115692 h 2540250"/>
              <a:gd name="connsiteX15" fmla="*/ 2017594 w 2870482"/>
              <a:gd name="connsiteY15" fmla="*/ 124994 h 2540250"/>
              <a:gd name="connsiteX16" fmla="*/ 2582799 w 2870482"/>
              <a:gd name="connsiteY16" fmla="*/ 131345 h 2540250"/>
              <a:gd name="connsiteX17" fmla="*/ 2761887 w 2870482"/>
              <a:gd name="connsiteY17" fmla="*/ 330755 h 2540250"/>
              <a:gd name="connsiteX18" fmla="*/ 2770778 w 2870482"/>
              <a:gd name="connsiteY18" fmla="*/ 348536 h 2540250"/>
              <a:gd name="connsiteX19" fmla="*/ 2712352 w 2870482"/>
              <a:gd name="connsiteY19" fmla="*/ 876908 h 2540250"/>
              <a:gd name="connsiteX20" fmla="*/ 2481189 w 2870482"/>
              <a:gd name="connsiteY20" fmla="*/ 1064887 h 2540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870482" h="2540250">
                <a:moveTo>
                  <a:pt x="2481189" y="1064887"/>
                </a:moveTo>
                <a:lnTo>
                  <a:pt x="1678470" y="1461166"/>
                </a:lnTo>
                <a:cubicBezTo>
                  <a:pt x="1640366" y="1423062"/>
                  <a:pt x="1556538" y="1374797"/>
                  <a:pt x="1406664" y="1448465"/>
                </a:cubicBezTo>
                <a:lnTo>
                  <a:pt x="9526" y="2136873"/>
                </a:lnTo>
                <a:lnTo>
                  <a:pt x="9526" y="2531882"/>
                </a:lnTo>
                <a:lnTo>
                  <a:pt x="1564159" y="1765996"/>
                </a:lnTo>
                <a:cubicBezTo>
                  <a:pt x="1564159" y="1765996"/>
                  <a:pt x="1785161" y="1656765"/>
                  <a:pt x="1708953" y="1500540"/>
                </a:cubicBezTo>
                <a:lnTo>
                  <a:pt x="1706413" y="1494189"/>
                </a:lnTo>
                <a:cubicBezTo>
                  <a:pt x="1706413" y="1494189"/>
                  <a:pt x="1705143" y="1492919"/>
                  <a:pt x="1703873" y="1490379"/>
                </a:cubicBezTo>
                <a:lnTo>
                  <a:pt x="2498971" y="1097910"/>
                </a:lnTo>
                <a:cubicBezTo>
                  <a:pt x="2504051" y="1095370"/>
                  <a:pt x="3047665" y="819753"/>
                  <a:pt x="2806341" y="330755"/>
                </a:cubicBezTo>
                <a:lnTo>
                  <a:pt x="2797450" y="312973"/>
                </a:lnTo>
                <a:cubicBezTo>
                  <a:pt x="2794910" y="307892"/>
                  <a:pt x="2547236" y="-178566"/>
                  <a:pt x="2002352" y="90701"/>
                </a:cubicBezTo>
                <a:lnTo>
                  <a:pt x="9526" y="1073778"/>
                </a:lnTo>
                <a:lnTo>
                  <a:pt x="9526" y="1115692"/>
                </a:lnTo>
                <a:lnTo>
                  <a:pt x="2017594" y="124994"/>
                </a:lnTo>
                <a:cubicBezTo>
                  <a:pt x="2232245" y="19574"/>
                  <a:pt x="2421493" y="20844"/>
                  <a:pt x="2582799" y="131345"/>
                </a:cubicBezTo>
                <a:cubicBezTo>
                  <a:pt x="2703461" y="213903"/>
                  <a:pt x="2761887" y="329484"/>
                  <a:pt x="2761887" y="330755"/>
                </a:cubicBezTo>
                <a:lnTo>
                  <a:pt x="2770778" y="348536"/>
                </a:lnTo>
                <a:cubicBezTo>
                  <a:pt x="2864767" y="539055"/>
                  <a:pt x="2845715" y="716873"/>
                  <a:pt x="2712352" y="876908"/>
                </a:cubicBezTo>
                <a:cubicBezTo>
                  <a:pt x="2613282" y="998840"/>
                  <a:pt x="2482459" y="1063617"/>
                  <a:pt x="2481189" y="1064887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7946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>
            <a:extLst>
              <a:ext uri="{FF2B5EF4-FFF2-40B4-BE49-F238E27FC236}">
                <a16:creationId xmlns:a16="http://schemas.microsoft.com/office/drawing/2014/main" id="{DD823940-1850-4484-BDCE-3D9B898D6787}"/>
              </a:ext>
            </a:extLst>
          </p:cNvPr>
          <p:cNvSpPr/>
          <p:nvPr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Graphic 12">
            <a:extLst>
              <a:ext uri="{FF2B5EF4-FFF2-40B4-BE49-F238E27FC236}">
                <a16:creationId xmlns:a16="http://schemas.microsoft.com/office/drawing/2014/main" id="{6FFA8582-48C8-4154-ACF0-5F6412FAAE0C}"/>
              </a:ext>
            </a:extLst>
          </p:cNvPr>
          <p:cNvSpPr/>
          <p:nvPr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FBCC61A6-FEB7-4CD2-9686-FB5F1EB66A10}"/>
              </a:ext>
            </a:extLst>
          </p:cNvPr>
          <p:cNvSpPr>
            <a:spLocks noGrp="1"/>
          </p:cNvSpPr>
          <p:nvPr>
            <p:ph type="media" sz="quarter" idx="17"/>
          </p:nvPr>
        </p:nvSpPr>
        <p:spPr>
          <a:xfrm>
            <a:off x="911225" y="908050"/>
            <a:ext cx="10369550" cy="4660900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media</a:t>
            </a:r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C208BCD-3B7E-49DF-8BF5-68AE9DD7D7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238811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1517C1-CBB7-46B0-99AA-8512104026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757CD-3B46-4C63-B887-90DD9369982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8EAB5B0-43C3-4F9F-98FF-253CBE6C9668}"/>
              </a:ext>
            </a:extLst>
          </p:cNvPr>
          <p:cNvSpPr/>
          <p:nvPr/>
        </p:nvSpPr>
        <p:spPr>
          <a:xfrm>
            <a:off x="8807428" y="2003790"/>
            <a:ext cx="775201" cy="774776"/>
          </a:xfrm>
          <a:custGeom>
            <a:avLst/>
            <a:gdLst>
              <a:gd name="connsiteX0" fmla="*/ 388023 w 774776"/>
              <a:gd name="connsiteY0" fmla="*/ 766520 h 774776"/>
              <a:gd name="connsiteX1" fmla="*/ 9526 w 774776"/>
              <a:gd name="connsiteY1" fmla="*/ 388023 h 774776"/>
              <a:gd name="connsiteX2" fmla="*/ 388023 w 774776"/>
              <a:gd name="connsiteY2" fmla="*/ 9526 h 774776"/>
              <a:gd name="connsiteX3" fmla="*/ 766521 w 774776"/>
              <a:gd name="connsiteY3" fmla="*/ 388023 h 774776"/>
              <a:gd name="connsiteX4" fmla="*/ 388023 w 774776"/>
              <a:gd name="connsiteY4" fmla="*/ 766520 h 774776"/>
              <a:gd name="connsiteX5" fmla="*/ 388023 w 774776"/>
              <a:gd name="connsiteY5" fmla="*/ 48900 h 774776"/>
              <a:gd name="connsiteX6" fmla="*/ 47630 w 774776"/>
              <a:gd name="connsiteY6" fmla="*/ 389293 h 774776"/>
              <a:gd name="connsiteX7" fmla="*/ 388023 w 774776"/>
              <a:gd name="connsiteY7" fmla="*/ 729687 h 774776"/>
              <a:gd name="connsiteX8" fmla="*/ 728417 w 774776"/>
              <a:gd name="connsiteY8" fmla="*/ 389293 h 774776"/>
              <a:gd name="connsiteX9" fmla="*/ 388023 w 774776"/>
              <a:gd name="connsiteY9" fmla="*/ 48900 h 774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74776" h="774776">
                <a:moveTo>
                  <a:pt x="388023" y="766520"/>
                </a:moveTo>
                <a:cubicBezTo>
                  <a:pt x="179723" y="766520"/>
                  <a:pt x="9526" y="596324"/>
                  <a:pt x="9526" y="388023"/>
                </a:cubicBezTo>
                <a:cubicBezTo>
                  <a:pt x="9526" y="179723"/>
                  <a:pt x="179723" y="9526"/>
                  <a:pt x="388023" y="9526"/>
                </a:cubicBezTo>
                <a:cubicBezTo>
                  <a:pt x="596324" y="9526"/>
                  <a:pt x="766521" y="179723"/>
                  <a:pt x="766521" y="388023"/>
                </a:cubicBezTo>
                <a:cubicBezTo>
                  <a:pt x="766521" y="596324"/>
                  <a:pt x="596324" y="766520"/>
                  <a:pt x="388023" y="766520"/>
                </a:cubicBezTo>
                <a:close/>
                <a:moveTo>
                  <a:pt x="388023" y="48900"/>
                </a:moveTo>
                <a:cubicBezTo>
                  <a:pt x="200045" y="48900"/>
                  <a:pt x="47630" y="201315"/>
                  <a:pt x="47630" y="389293"/>
                </a:cubicBezTo>
                <a:cubicBezTo>
                  <a:pt x="47630" y="577272"/>
                  <a:pt x="200045" y="729687"/>
                  <a:pt x="388023" y="729687"/>
                </a:cubicBezTo>
                <a:cubicBezTo>
                  <a:pt x="576002" y="729687"/>
                  <a:pt x="728417" y="577272"/>
                  <a:pt x="728417" y="389293"/>
                </a:cubicBezTo>
                <a:cubicBezTo>
                  <a:pt x="728417" y="201315"/>
                  <a:pt x="576002" y="48900"/>
                  <a:pt x="388023" y="4890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6A97B71-3A84-4844-BDB5-E3F77302BBC0}"/>
              </a:ext>
            </a:extLst>
          </p:cNvPr>
          <p:cNvSpPr/>
          <p:nvPr/>
        </p:nvSpPr>
        <p:spPr>
          <a:xfrm>
            <a:off x="9780046" y="430740"/>
            <a:ext cx="2414562" cy="2578354"/>
          </a:xfrm>
          <a:custGeom>
            <a:avLst/>
            <a:gdLst>
              <a:gd name="connsiteX0" fmla="*/ 2412164 w 2413237"/>
              <a:gd name="connsiteY0" fmla="*/ 12701 h 2578354"/>
              <a:gd name="connsiteX1" fmla="*/ 487924 w 2413237"/>
              <a:gd name="connsiteY1" fmla="*/ 962755 h 2578354"/>
              <a:gd name="connsiteX2" fmla="*/ 113238 w 2413237"/>
              <a:gd name="connsiteY2" fmla="*/ 2065224 h 2578354"/>
              <a:gd name="connsiteX3" fmla="*/ 127209 w 2413237"/>
              <a:gd name="connsiteY3" fmla="*/ 2093166 h 2578354"/>
              <a:gd name="connsiteX4" fmla="*/ 1229678 w 2413237"/>
              <a:gd name="connsiteY4" fmla="*/ 2467853 h 2578354"/>
              <a:gd name="connsiteX5" fmla="*/ 2412164 w 2413237"/>
              <a:gd name="connsiteY5" fmla="*/ 1884866 h 2578354"/>
              <a:gd name="connsiteX6" fmla="*/ 2412164 w 2413237"/>
              <a:gd name="connsiteY6" fmla="*/ 12701 h 2578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13237" h="2578354">
                <a:moveTo>
                  <a:pt x="2412164" y="12701"/>
                </a:moveTo>
                <a:lnTo>
                  <a:pt x="487924" y="962755"/>
                </a:lnTo>
                <a:cubicBezTo>
                  <a:pt x="487924" y="962755"/>
                  <a:pt x="-250018" y="1327281"/>
                  <a:pt x="113238" y="2065224"/>
                </a:cubicBezTo>
                <a:lnTo>
                  <a:pt x="127209" y="2093166"/>
                </a:lnTo>
                <a:cubicBezTo>
                  <a:pt x="127209" y="2093166"/>
                  <a:pt x="491735" y="2831109"/>
                  <a:pt x="1229678" y="2467853"/>
                </a:cubicBezTo>
                <a:lnTo>
                  <a:pt x="2412164" y="1884866"/>
                </a:lnTo>
                <a:lnTo>
                  <a:pt x="2412164" y="12701"/>
                </a:lnTo>
                <a:close/>
              </a:path>
            </a:pathLst>
          </a:custGeom>
          <a:solidFill>
            <a:schemeClr val="accent3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30939C4-65C9-4508-8EFE-F715B9946844}"/>
              </a:ext>
            </a:extLst>
          </p:cNvPr>
          <p:cNvSpPr/>
          <p:nvPr/>
        </p:nvSpPr>
        <p:spPr>
          <a:xfrm>
            <a:off x="9762774" y="410418"/>
            <a:ext cx="2439977" cy="2616458"/>
          </a:xfrm>
          <a:custGeom>
            <a:avLst/>
            <a:gdLst>
              <a:gd name="connsiteX0" fmla="*/ 2429427 w 2438640"/>
              <a:gd name="connsiteY0" fmla="*/ 1882326 h 2616457"/>
              <a:gd name="connsiteX1" fmla="*/ 1238050 w 2438640"/>
              <a:gd name="connsiteY1" fmla="*/ 2469123 h 2616457"/>
              <a:gd name="connsiteX2" fmla="*/ 431520 w 2438640"/>
              <a:gd name="connsiteY2" fmla="*/ 2420859 h 2616457"/>
              <a:gd name="connsiteX3" fmla="*/ 162253 w 2438640"/>
              <a:gd name="connsiteY3" fmla="*/ 2103327 h 2616457"/>
              <a:gd name="connsiteX4" fmla="*/ 148282 w 2438640"/>
              <a:gd name="connsiteY4" fmla="*/ 2075385 h 2616457"/>
              <a:gd name="connsiteX5" fmla="*/ 196547 w 2438640"/>
              <a:gd name="connsiteY5" fmla="*/ 1268855 h 2616457"/>
              <a:gd name="connsiteX6" fmla="*/ 514078 w 2438640"/>
              <a:gd name="connsiteY6" fmla="*/ 999589 h 2616457"/>
              <a:gd name="connsiteX7" fmla="*/ 2430697 w 2438640"/>
              <a:gd name="connsiteY7" fmla="*/ 54615 h 2616457"/>
              <a:gd name="connsiteX8" fmla="*/ 2430697 w 2438640"/>
              <a:gd name="connsiteY8" fmla="*/ 12701 h 2616457"/>
              <a:gd name="connsiteX9" fmla="*/ 497567 w 2438640"/>
              <a:gd name="connsiteY9" fmla="*/ 965295 h 2616457"/>
              <a:gd name="connsiteX10" fmla="*/ 167334 w 2438640"/>
              <a:gd name="connsiteY10" fmla="*/ 1244723 h 2616457"/>
              <a:gd name="connsiteX11" fmla="*/ 115259 w 2438640"/>
              <a:gd name="connsiteY11" fmla="*/ 2093166 h 2616457"/>
              <a:gd name="connsiteX12" fmla="*/ 129231 w 2438640"/>
              <a:gd name="connsiteY12" fmla="*/ 2121109 h 2616457"/>
              <a:gd name="connsiteX13" fmla="*/ 408658 w 2438640"/>
              <a:gd name="connsiteY13" fmla="*/ 2451342 h 2616457"/>
              <a:gd name="connsiteX14" fmla="*/ 854472 w 2438640"/>
              <a:gd name="connsiteY14" fmla="*/ 2606297 h 2616457"/>
              <a:gd name="connsiteX15" fmla="*/ 1255831 w 2438640"/>
              <a:gd name="connsiteY15" fmla="*/ 2503417 h 2616457"/>
              <a:gd name="connsiteX16" fmla="*/ 2429427 w 2438640"/>
              <a:gd name="connsiteY16" fmla="*/ 1924240 h 2616457"/>
              <a:gd name="connsiteX17" fmla="*/ 2429427 w 2438640"/>
              <a:gd name="connsiteY17" fmla="*/ 1882326 h 2616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438640" h="2616457">
                <a:moveTo>
                  <a:pt x="2429427" y="1882326"/>
                </a:moveTo>
                <a:lnTo>
                  <a:pt x="1238050" y="2469123"/>
                </a:lnTo>
                <a:cubicBezTo>
                  <a:pt x="939570" y="2616458"/>
                  <a:pt x="667763" y="2599946"/>
                  <a:pt x="431520" y="2420859"/>
                </a:cubicBezTo>
                <a:cubicBezTo>
                  <a:pt x="253703" y="2286225"/>
                  <a:pt x="162253" y="2104598"/>
                  <a:pt x="162253" y="2103327"/>
                </a:cubicBezTo>
                <a:lnTo>
                  <a:pt x="148282" y="2075385"/>
                </a:lnTo>
                <a:cubicBezTo>
                  <a:pt x="947" y="1776905"/>
                  <a:pt x="17459" y="1505098"/>
                  <a:pt x="196547" y="1268855"/>
                </a:cubicBezTo>
                <a:cubicBezTo>
                  <a:pt x="331180" y="1091038"/>
                  <a:pt x="511538" y="1000859"/>
                  <a:pt x="514078" y="999589"/>
                </a:cubicBezTo>
                <a:lnTo>
                  <a:pt x="2430697" y="54615"/>
                </a:lnTo>
                <a:lnTo>
                  <a:pt x="2430697" y="12701"/>
                </a:lnTo>
                <a:lnTo>
                  <a:pt x="497567" y="965295"/>
                </a:lnTo>
                <a:cubicBezTo>
                  <a:pt x="489946" y="969106"/>
                  <a:pt x="307048" y="1060555"/>
                  <a:pt x="167334" y="1244723"/>
                </a:cubicBezTo>
                <a:cubicBezTo>
                  <a:pt x="37781" y="1416190"/>
                  <a:pt x="-77800" y="1701968"/>
                  <a:pt x="115259" y="2093166"/>
                </a:cubicBezTo>
                <a:lnTo>
                  <a:pt x="129231" y="2121109"/>
                </a:lnTo>
                <a:cubicBezTo>
                  <a:pt x="133041" y="2128730"/>
                  <a:pt x="224490" y="2311628"/>
                  <a:pt x="408658" y="2451342"/>
                </a:cubicBezTo>
                <a:cubicBezTo>
                  <a:pt x="514078" y="2531359"/>
                  <a:pt x="663953" y="2606297"/>
                  <a:pt x="854472" y="2606297"/>
                </a:cubicBezTo>
                <a:cubicBezTo>
                  <a:pt x="972593" y="2606297"/>
                  <a:pt x="1107227" y="2577084"/>
                  <a:pt x="1255831" y="2503417"/>
                </a:cubicBezTo>
                <a:lnTo>
                  <a:pt x="2429427" y="1924240"/>
                </a:lnTo>
                <a:lnTo>
                  <a:pt x="2429427" y="1882326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759BB951-621D-4456-A832-116187764B2E}"/>
              </a:ext>
            </a:extLst>
          </p:cNvPr>
          <p:cNvSpPr/>
          <p:nvPr/>
        </p:nvSpPr>
        <p:spPr>
          <a:xfrm>
            <a:off x="7340981" y="-16344"/>
            <a:ext cx="4854539" cy="2273524"/>
          </a:xfrm>
          <a:custGeom>
            <a:avLst/>
            <a:gdLst>
              <a:gd name="connsiteX0" fmla="*/ 4849891 w 4851877"/>
              <a:gd name="connsiteY0" fmla="*/ 12701 h 2273523"/>
              <a:gd name="connsiteX1" fmla="*/ 2808800 w 4851877"/>
              <a:gd name="connsiteY1" fmla="*/ 12701 h 2273523"/>
              <a:gd name="connsiteX2" fmla="*/ 371430 w 4851877"/>
              <a:gd name="connsiteY2" fmla="*/ 1214240 h 2273523"/>
              <a:gd name="connsiteX3" fmla="*/ 72951 w 4851877"/>
              <a:gd name="connsiteY3" fmla="*/ 1955993 h 2273523"/>
              <a:gd name="connsiteX4" fmla="*/ 81841 w 4851877"/>
              <a:gd name="connsiteY4" fmla="*/ 1973774 h 2273523"/>
              <a:gd name="connsiteX5" fmla="*/ 851538 w 4851877"/>
              <a:gd name="connsiteY5" fmla="*/ 2188426 h 2273523"/>
              <a:gd name="connsiteX6" fmla="*/ 4849891 w 4851877"/>
              <a:gd name="connsiteY6" fmla="*/ 217191 h 2273523"/>
              <a:gd name="connsiteX7" fmla="*/ 4849891 w 4851877"/>
              <a:gd name="connsiteY7" fmla="*/ 12701 h 2273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851877" h="2273523">
                <a:moveTo>
                  <a:pt x="4849891" y="12701"/>
                </a:moveTo>
                <a:lnTo>
                  <a:pt x="2808800" y="12701"/>
                </a:lnTo>
                <a:lnTo>
                  <a:pt x="371430" y="1214240"/>
                </a:lnTo>
                <a:cubicBezTo>
                  <a:pt x="371430" y="1214240"/>
                  <a:pt x="-163293" y="1478426"/>
                  <a:pt x="72951" y="1955993"/>
                </a:cubicBezTo>
                <a:lnTo>
                  <a:pt x="81841" y="1973774"/>
                </a:lnTo>
                <a:cubicBezTo>
                  <a:pt x="81841" y="1973774"/>
                  <a:pt x="316814" y="2451342"/>
                  <a:pt x="851538" y="2188426"/>
                </a:cubicBezTo>
                <a:lnTo>
                  <a:pt x="4849891" y="217191"/>
                </a:lnTo>
                <a:lnTo>
                  <a:pt x="4849891" y="12701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F8008CE-2F0A-4568-9C4A-C347A4880513}"/>
              </a:ext>
            </a:extLst>
          </p:cNvPr>
          <p:cNvSpPr/>
          <p:nvPr/>
        </p:nvSpPr>
        <p:spPr>
          <a:xfrm>
            <a:off x="7327556" y="-16344"/>
            <a:ext cx="4867247" cy="2298926"/>
          </a:xfrm>
          <a:custGeom>
            <a:avLst/>
            <a:gdLst>
              <a:gd name="connsiteX0" fmla="*/ 4863309 w 4864578"/>
              <a:gd name="connsiteY0" fmla="*/ 195599 h 2298926"/>
              <a:gd name="connsiteX1" fmla="*/ 857334 w 4864578"/>
              <a:gd name="connsiteY1" fmla="*/ 2170644 h 2298926"/>
              <a:gd name="connsiteX2" fmla="*/ 292129 w 4864578"/>
              <a:gd name="connsiteY2" fmla="*/ 2164293 h 2298926"/>
              <a:gd name="connsiteX3" fmla="*/ 113041 w 4864578"/>
              <a:gd name="connsiteY3" fmla="*/ 1964884 h 2298926"/>
              <a:gd name="connsiteX4" fmla="*/ 104150 w 4864578"/>
              <a:gd name="connsiteY4" fmla="*/ 1947102 h 2298926"/>
              <a:gd name="connsiteX5" fmla="*/ 162577 w 4864578"/>
              <a:gd name="connsiteY5" fmla="*/ 1418730 h 2298926"/>
              <a:gd name="connsiteX6" fmla="*/ 395009 w 4864578"/>
              <a:gd name="connsiteY6" fmla="*/ 1230751 h 2298926"/>
              <a:gd name="connsiteX7" fmla="*/ 395009 w 4864578"/>
              <a:gd name="connsiteY7" fmla="*/ 1230751 h 2298926"/>
              <a:gd name="connsiteX8" fmla="*/ 2865403 w 4864578"/>
              <a:gd name="connsiteY8" fmla="*/ 12701 h 2298926"/>
              <a:gd name="connsiteX9" fmla="*/ 2779034 w 4864578"/>
              <a:gd name="connsiteY9" fmla="*/ 12701 h 2298926"/>
              <a:gd name="connsiteX10" fmla="*/ 377227 w 4864578"/>
              <a:gd name="connsiteY10" fmla="*/ 1197728 h 2298926"/>
              <a:gd name="connsiteX11" fmla="*/ 133363 w 4864578"/>
              <a:gd name="connsiteY11" fmla="*/ 1394597 h 2298926"/>
              <a:gd name="connsiteX12" fmla="*/ 12701 w 4864578"/>
              <a:gd name="connsiteY12" fmla="*/ 1660054 h 2298926"/>
              <a:gd name="connsiteX13" fmla="*/ 12701 w 4864578"/>
              <a:gd name="connsiteY13" fmla="*/ 1780715 h 2298926"/>
              <a:gd name="connsiteX14" fmla="*/ 69857 w 4864578"/>
              <a:gd name="connsiteY14" fmla="*/ 1964884 h 2298926"/>
              <a:gd name="connsiteX15" fmla="*/ 78748 w 4864578"/>
              <a:gd name="connsiteY15" fmla="*/ 1982665 h 2298926"/>
              <a:gd name="connsiteX16" fmla="*/ 269267 w 4864578"/>
              <a:gd name="connsiteY16" fmla="*/ 2196046 h 2298926"/>
              <a:gd name="connsiteX17" fmla="*/ 560126 w 4864578"/>
              <a:gd name="connsiteY17" fmla="*/ 2286225 h 2298926"/>
              <a:gd name="connsiteX18" fmla="*/ 873847 w 4864578"/>
              <a:gd name="connsiteY18" fmla="*/ 2204937 h 2298926"/>
              <a:gd name="connsiteX19" fmla="*/ 4863309 w 4864578"/>
              <a:gd name="connsiteY19" fmla="*/ 237513 h 2298926"/>
              <a:gd name="connsiteX20" fmla="*/ 4863309 w 4864578"/>
              <a:gd name="connsiteY20" fmla="*/ 195599 h 2298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864578" h="2298926">
                <a:moveTo>
                  <a:pt x="4863309" y="195599"/>
                </a:moveTo>
                <a:lnTo>
                  <a:pt x="857334" y="2170644"/>
                </a:lnTo>
                <a:cubicBezTo>
                  <a:pt x="642684" y="2276064"/>
                  <a:pt x="453435" y="2274794"/>
                  <a:pt x="292129" y="2164293"/>
                </a:cubicBezTo>
                <a:cubicBezTo>
                  <a:pt x="171467" y="2081735"/>
                  <a:pt x="113041" y="1966154"/>
                  <a:pt x="113041" y="1964884"/>
                </a:cubicBezTo>
                <a:lnTo>
                  <a:pt x="104150" y="1947102"/>
                </a:lnTo>
                <a:cubicBezTo>
                  <a:pt x="10162" y="1756583"/>
                  <a:pt x="29213" y="1578766"/>
                  <a:pt x="162577" y="1418730"/>
                </a:cubicBezTo>
                <a:cubicBezTo>
                  <a:pt x="262916" y="1296798"/>
                  <a:pt x="393739" y="1232021"/>
                  <a:pt x="395009" y="1230751"/>
                </a:cubicBezTo>
                <a:lnTo>
                  <a:pt x="395009" y="1230751"/>
                </a:lnTo>
                <a:lnTo>
                  <a:pt x="2865403" y="12701"/>
                </a:lnTo>
                <a:lnTo>
                  <a:pt x="2779034" y="12701"/>
                </a:lnTo>
                <a:lnTo>
                  <a:pt x="377227" y="1197728"/>
                </a:lnTo>
                <a:cubicBezTo>
                  <a:pt x="372147" y="1200268"/>
                  <a:pt x="238784" y="1266315"/>
                  <a:pt x="133363" y="1394597"/>
                </a:cubicBezTo>
                <a:cubicBezTo>
                  <a:pt x="78748" y="1460644"/>
                  <a:pt x="26673" y="1549553"/>
                  <a:pt x="12701" y="1660054"/>
                </a:cubicBezTo>
                <a:lnTo>
                  <a:pt x="12701" y="1780715"/>
                </a:lnTo>
                <a:cubicBezTo>
                  <a:pt x="20322" y="1837871"/>
                  <a:pt x="38104" y="1900107"/>
                  <a:pt x="69857" y="1964884"/>
                </a:cubicBezTo>
                <a:lnTo>
                  <a:pt x="78748" y="1982665"/>
                </a:lnTo>
                <a:cubicBezTo>
                  <a:pt x="81288" y="1987746"/>
                  <a:pt x="140984" y="2107138"/>
                  <a:pt x="269267" y="2196046"/>
                </a:cubicBezTo>
                <a:cubicBezTo>
                  <a:pt x="337854" y="2243041"/>
                  <a:pt x="435654" y="2286225"/>
                  <a:pt x="560126" y="2286225"/>
                </a:cubicBezTo>
                <a:cubicBezTo>
                  <a:pt x="650304" y="2286225"/>
                  <a:pt x="754455" y="2264633"/>
                  <a:pt x="873847" y="2204937"/>
                </a:cubicBezTo>
                <a:lnTo>
                  <a:pt x="4863309" y="237513"/>
                </a:lnTo>
                <a:lnTo>
                  <a:pt x="4863309" y="195599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9" name="Title 2">
            <a:extLst>
              <a:ext uri="{FF2B5EF4-FFF2-40B4-BE49-F238E27FC236}">
                <a16:creationId xmlns:a16="http://schemas.microsoft.com/office/drawing/2014/main" id="{3A926948-B9C1-4E84-AF0F-40965A132C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2986" y="5707145"/>
            <a:ext cx="7366027" cy="853993"/>
          </a:xfrm>
        </p:spPr>
        <p:txBody>
          <a:bodyPr anchor="t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23A17C7-5A8B-4D9D-AC8A-2486018F3FB8}"/>
              </a:ext>
            </a:extLst>
          </p:cNvPr>
          <p:cNvGrpSpPr/>
          <p:nvPr/>
        </p:nvGrpSpPr>
        <p:grpSpPr>
          <a:xfrm>
            <a:off x="-18799" y="2319272"/>
            <a:ext cx="2884236" cy="2824836"/>
            <a:chOff x="-18799" y="2319272"/>
            <a:chExt cx="2884236" cy="2824836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C42001FF-B76E-4445-BDE5-6BFAD41EBBD4}"/>
                </a:ext>
              </a:extLst>
            </p:cNvPr>
            <p:cNvSpPr/>
            <p:nvPr/>
          </p:nvSpPr>
          <p:spPr>
            <a:xfrm>
              <a:off x="-18799" y="2336694"/>
              <a:ext cx="2871530" cy="2299765"/>
            </a:xfrm>
            <a:custGeom>
              <a:avLst/>
              <a:gdLst>
                <a:gd name="connsiteX0" fmla="*/ 2796565 w 2871529"/>
                <a:gd name="connsiteY0" fmla="*/ 306465 h 2299764"/>
                <a:gd name="connsiteX1" fmla="*/ 2026589 w 2871529"/>
                <a:gd name="connsiteY1" fmla="*/ 91735 h 2299764"/>
                <a:gd name="connsiteX2" fmla="*/ 12706 w 2871529"/>
                <a:gd name="connsiteY2" fmla="*/ 1085336 h 2299764"/>
                <a:gd name="connsiteX3" fmla="*/ 12706 w 2871529"/>
                <a:gd name="connsiteY3" fmla="*/ 2296206 h 2299764"/>
                <a:gd name="connsiteX4" fmla="*/ 2506871 w 2871529"/>
                <a:gd name="connsiteY4" fmla="*/ 1066277 h 2299764"/>
                <a:gd name="connsiteX5" fmla="*/ 2805459 w 2871529"/>
                <a:gd name="connsiteY5" fmla="*/ 324253 h 2299764"/>
                <a:gd name="connsiteX6" fmla="*/ 2796565 w 2871529"/>
                <a:gd name="connsiteY6" fmla="*/ 306465 h 2299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71529" h="2299764">
                  <a:moveTo>
                    <a:pt x="2796565" y="306465"/>
                  </a:moveTo>
                  <a:cubicBezTo>
                    <a:pt x="2796565" y="306465"/>
                    <a:pt x="2561507" y="-171276"/>
                    <a:pt x="2026589" y="91735"/>
                  </a:cubicBezTo>
                  <a:lnTo>
                    <a:pt x="12706" y="1085336"/>
                  </a:lnTo>
                  <a:lnTo>
                    <a:pt x="12706" y="2296206"/>
                  </a:lnTo>
                  <a:lnTo>
                    <a:pt x="2506871" y="1066277"/>
                  </a:lnTo>
                  <a:cubicBezTo>
                    <a:pt x="2506871" y="1066277"/>
                    <a:pt x="3041789" y="801994"/>
                    <a:pt x="2805459" y="324253"/>
                  </a:cubicBezTo>
                  <a:lnTo>
                    <a:pt x="2796565" y="306465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55EB89C3-8B52-4763-9DB2-C51CC8AF377C}"/>
                </a:ext>
              </a:extLst>
            </p:cNvPr>
            <p:cNvSpPr/>
            <p:nvPr/>
          </p:nvSpPr>
          <p:spPr>
            <a:xfrm>
              <a:off x="-18799" y="2319272"/>
              <a:ext cx="2884236" cy="2337882"/>
            </a:xfrm>
            <a:custGeom>
              <a:avLst/>
              <a:gdLst>
                <a:gd name="connsiteX0" fmla="*/ 2871530 w 2884235"/>
                <a:gd name="connsiteY0" fmla="*/ 466193 h 2337882"/>
                <a:gd name="connsiteX1" fmla="*/ 2823248 w 2884235"/>
                <a:gd name="connsiteY1" fmla="*/ 334052 h 2337882"/>
                <a:gd name="connsiteX2" fmla="*/ 2814354 w 2884235"/>
                <a:gd name="connsiteY2" fmla="*/ 316263 h 2337882"/>
                <a:gd name="connsiteX3" fmla="*/ 2018965 w 2884235"/>
                <a:gd name="connsiteY3" fmla="*/ 93910 h 2337882"/>
                <a:gd name="connsiteX4" fmla="*/ 12706 w 2884235"/>
                <a:gd name="connsiteY4" fmla="*/ 1081158 h 2337882"/>
                <a:gd name="connsiteX5" fmla="*/ 12706 w 2884235"/>
                <a:gd name="connsiteY5" fmla="*/ 1123087 h 2337882"/>
                <a:gd name="connsiteX6" fmla="*/ 2035483 w 2884235"/>
                <a:gd name="connsiteY6" fmla="*/ 126946 h 2337882"/>
                <a:gd name="connsiteX7" fmla="*/ 2600895 w 2884235"/>
                <a:gd name="connsiteY7" fmla="*/ 133299 h 2337882"/>
                <a:gd name="connsiteX8" fmla="*/ 2780048 w 2884235"/>
                <a:gd name="connsiteY8" fmla="*/ 332781 h 2337882"/>
                <a:gd name="connsiteX9" fmla="*/ 2788942 w 2884235"/>
                <a:gd name="connsiteY9" fmla="*/ 350569 h 2337882"/>
                <a:gd name="connsiteX10" fmla="*/ 2730495 w 2884235"/>
                <a:gd name="connsiteY10" fmla="*/ 879134 h 2337882"/>
                <a:gd name="connsiteX11" fmla="*/ 2497977 w 2884235"/>
                <a:gd name="connsiteY11" fmla="*/ 1065911 h 2337882"/>
                <a:gd name="connsiteX12" fmla="*/ 12706 w 2884235"/>
                <a:gd name="connsiteY12" fmla="*/ 2292028 h 2337882"/>
                <a:gd name="connsiteX13" fmla="*/ 12706 w 2884235"/>
                <a:gd name="connsiteY13" fmla="*/ 2333958 h 2337882"/>
                <a:gd name="connsiteX14" fmla="*/ 2515765 w 2884235"/>
                <a:gd name="connsiteY14" fmla="*/ 1100216 h 2337882"/>
                <a:gd name="connsiteX15" fmla="*/ 2871530 w 2884235"/>
                <a:gd name="connsiteY15" fmla="*/ 687275 h 2337882"/>
                <a:gd name="connsiteX16" fmla="*/ 2871530 w 2884235"/>
                <a:gd name="connsiteY16" fmla="*/ 466193 h 2337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84235" h="2337882">
                  <a:moveTo>
                    <a:pt x="2871530" y="466193"/>
                  </a:moveTo>
                  <a:cubicBezTo>
                    <a:pt x="2861365" y="424263"/>
                    <a:pt x="2846118" y="379793"/>
                    <a:pt x="2823248" y="334052"/>
                  </a:cubicBezTo>
                  <a:lnTo>
                    <a:pt x="2814354" y="316263"/>
                  </a:lnTo>
                  <a:cubicBezTo>
                    <a:pt x="2811812" y="311181"/>
                    <a:pt x="2564048" y="-175454"/>
                    <a:pt x="2018965" y="93910"/>
                  </a:cubicBezTo>
                  <a:lnTo>
                    <a:pt x="12706" y="1081158"/>
                  </a:lnTo>
                  <a:lnTo>
                    <a:pt x="12706" y="1123087"/>
                  </a:lnTo>
                  <a:lnTo>
                    <a:pt x="2035483" y="126946"/>
                  </a:lnTo>
                  <a:cubicBezTo>
                    <a:pt x="2250212" y="21487"/>
                    <a:pt x="2439530" y="22758"/>
                    <a:pt x="2600895" y="133299"/>
                  </a:cubicBezTo>
                  <a:cubicBezTo>
                    <a:pt x="2721601" y="215887"/>
                    <a:pt x="2780048" y="331511"/>
                    <a:pt x="2780048" y="332781"/>
                  </a:cubicBezTo>
                  <a:lnTo>
                    <a:pt x="2788942" y="350569"/>
                  </a:lnTo>
                  <a:cubicBezTo>
                    <a:pt x="2882965" y="541158"/>
                    <a:pt x="2863906" y="719040"/>
                    <a:pt x="2730495" y="879134"/>
                  </a:cubicBezTo>
                  <a:cubicBezTo>
                    <a:pt x="2630118" y="999840"/>
                    <a:pt x="2500518" y="1065911"/>
                    <a:pt x="2497977" y="1065911"/>
                  </a:cubicBezTo>
                  <a:lnTo>
                    <a:pt x="12706" y="2292028"/>
                  </a:lnTo>
                  <a:lnTo>
                    <a:pt x="12706" y="2333958"/>
                  </a:lnTo>
                  <a:lnTo>
                    <a:pt x="2515765" y="1100216"/>
                  </a:lnTo>
                  <a:cubicBezTo>
                    <a:pt x="2519577" y="1097675"/>
                    <a:pt x="2806730" y="952828"/>
                    <a:pt x="2871530" y="687275"/>
                  </a:cubicBezTo>
                  <a:lnTo>
                    <a:pt x="2871530" y="466193"/>
                  </a:lnTo>
                  <a:close/>
                </a:path>
              </a:pathLst>
            </a:custGeom>
            <a:solidFill>
              <a:schemeClr val="bg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8F230BC5-B028-4266-A395-BFB56DFDC484}"/>
                </a:ext>
              </a:extLst>
            </p:cNvPr>
            <p:cNvSpPr/>
            <p:nvPr/>
          </p:nvSpPr>
          <p:spPr>
            <a:xfrm>
              <a:off x="-18799" y="3968979"/>
              <a:ext cx="1766118" cy="1156235"/>
            </a:xfrm>
            <a:custGeom>
              <a:avLst/>
              <a:gdLst>
                <a:gd name="connsiteX0" fmla="*/ 1735624 w 1766117"/>
                <a:gd name="connsiteY0" fmla="*/ 98509 h 1156235"/>
                <a:gd name="connsiteX1" fmla="*/ 1437036 w 1766117"/>
                <a:gd name="connsiteY1" fmla="*/ 51497 h 1156235"/>
                <a:gd name="connsiteX2" fmla="*/ 12706 w 1766117"/>
                <a:gd name="connsiteY2" fmla="*/ 754133 h 1156235"/>
                <a:gd name="connsiteX3" fmla="*/ 12706 w 1766117"/>
                <a:gd name="connsiteY3" fmla="*/ 1149286 h 1156235"/>
                <a:gd name="connsiteX4" fmla="*/ 1594589 w 1766117"/>
                <a:gd name="connsiteY4" fmla="*/ 369144 h 1156235"/>
                <a:gd name="connsiteX5" fmla="*/ 1739436 w 1766117"/>
                <a:gd name="connsiteY5" fmla="*/ 103592 h 1156235"/>
                <a:gd name="connsiteX6" fmla="*/ 1735624 w 1766117"/>
                <a:gd name="connsiteY6" fmla="*/ 98509 h 1156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66117" h="1156235">
                  <a:moveTo>
                    <a:pt x="1735624" y="98509"/>
                  </a:moveTo>
                  <a:cubicBezTo>
                    <a:pt x="1735624" y="98509"/>
                    <a:pt x="1658118" y="-57773"/>
                    <a:pt x="1437036" y="51497"/>
                  </a:cubicBezTo>
                  <a:lnTo>
                    <a:pt x="12706" y="754133"/>
                  </a:lnTo>
                  <a:lnTo>
                    <a:pt x="12706" y="1149286"/>
                  </a:lnTo>
                  <a:lnTo>
                    <a:pt x="1594589" y="369144"/>
                  </a:lnTo>
                  <a:cubicBezTo>
                    <a:pt x="1594589" y="369144"/>
                    <a:pt x="1815671" y="259874"/>
                    <a:pt x="1739436" y="103592"/>
                  </a:cubicBezTo>
                  <a:lnTo>
                    <a:pt x="1735624" y="98509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A52C234-DC7D-488B-8975-61485991A4A8}"/>
                </a:ext>
              </a:extLst>
            </p:cNvPr>
            <p:cNvSpPr/>
            <p:nvPr/>
          </p:nvSpPr>
          <p:spPr>
            <a:xfrm>
              <a:off x="-18799" y="3949755"/>
              <a:ext cx="1778824" cy="1194353"/>
            </a:xfrm>
            <a:custGeom>
              <a:avLst/>
              <a:gdLst>
                <a:gd name="connsiteX0" fmla="*/ 1753412 w 1778823"/>
                <a:gd name="connsiteY0" fmla="*/ 108839 h 1194352"/>
                <a:gd name="connsiteX1" fmla="*/ 1429412 w 1778823"/>
                <a:gd name="connsiteY1" fmla="*/ 52933 h 1194352"/>
                <a:gd name="connsiteX2" fmla="*/ 12706 w 1778823"/>
                <a:gd name="connsiteY2" fmla="*/ 751757 h 1194352"/>
                <a:gd name="connsiteX3" fmla="*/ 12706 w 1778823"/>
                <a:gd name="connsiteY3" fmla="*/ 793686 h 1194352"/>
                <a:gd name="connsiteX4" fmla="*/ 1445930 w 1778823"/>
                <a:gd name="connsiteY4" fmla="*/ 87239 h 1194352"/>
                <a:gd name="connsiteX5" fmla="*/ 1719106 w 1778823"/>
                <a:gd name="connsiteY5" fmla="*/ 125357 h 1194352"/>
                <a:gd name="connsiteX6" fmla="*/ 1721647 w 1778823"/>
                <a:gd name="connsiteY6" fmla="*/ 131710 h 1194352"/>
                <a:gd name="connsiteX7" fmla="*/ 1585694 w 1778823"/>
                <a:gd name="connsiteY7" fmla="*/ 371851 h 1194352"/>
                <a:gd name="connsiteX8" fmla="*/ 12706 w 1778823"/>
                <a:gd name="connsiteY8" fmla="*/ 1146910 h 1194352"/>
                <a:gd name="connsiteX9" fmla="*/ 12706 w 1778823"/>
                <a:gd name="connsiteY9" fmla="*/ 1188839 h 1194352"/>
                <a:gd name="connsiteX10" fmla="*/ 1603483 w 1778823"/>
                <a:gd name="connsiteY10" fmla="*/ 404886 h 1194352"/>
                <a:gd name="connsiteX11" fmla="*/ 1755953 w 1778823"/>
                <a:gd name="connsiteY11" fmla="*/ 113921 h 1194352"/>
                <a:gd name="connsiteX12" fmla="*/ 1753412 w 1778823"/>
                <a:gd name="connsiteY12" fmla="*/ 108839 h 1194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78823" h="1194352">
                  <a:moveTo>
                    <a:pt x="1753412" y="108839"/>
                  </a:moveTo>
                  <a:cubicBezTo>
                    <a:pt x="1752141" y="107569"/>
                    <a:pt x="1665742" y="-62690"/>
                    <a:pt x="1429412" y="52933"/>
                  </a:cubicBezTo>
                  <a:lnTo>
                    <a:pt x="12706" y="751757"/>
                  </a:lnTo>
                  <a:lnTo>
                    <a:pt x="12706" y="793686"/>
                  </a:lnTo>
                  <a:lnTo>
                    <a:pt x="1445930" y="87239"/>
                  </a:lnTo>
                  <a:cubicBezTo>
                    <a:pt x="1646683" y="-11867"/>
                    <a:pt x="1715294" y="120274"/>
                    <a:pt x="1719106" y="125357"/>
                  </a:cubicBezTo>
                  <a:lnTo>
                    <a:pt x="1721647" y="131710"/>
                  </a:lnTo>
                  <a:cubicBezTo>
                    <a:pt x="1788989" y="268933"/>
                    <a:pt x="1594589" y="366769"/>
                    <a:pt x="1585694" y="371851"/>
                  </a:cubicBezTo>
                  <a:lnTo>
                    <a:pt x="12706" y="1146910"/>
                  </a:lnTo>
                  <a:lnTo>
                    <a:pt x="12706" y="1188839"/>
                  </a:lnTo>
                  <a:lnTo>
                    <a:pt x="1603483" y="404886"/>
                  </a:lnTo>
                  <a:cubicBezTo>
                    <a:pt x="1686071" y="364228"/>
                    <a:pt x="1824565" y="251145"/>
                    <a:pt x="1755953" y="113921"/>
                  </a:cubicBezTo>
                  <a:lnTo>
                    <a:pt x="1753412" y="108839"/>
                  </a:lnTo>
                  <a:close/>
                </a:path>
              </a:pathLst>
            </a:custGeom>
            <a:solidFill>
              <a:schemeClr val="bg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8253072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DB6A3A-74E6-4FE2-8AD2-CEB0704471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128AA-FDF4-4DD5-A009-3C58D24570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1C2DC0-7E13-4A66-9F9B-371BA9C6E4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24400" y="581681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A205F7-811A-4606-AC7E-593528945A21}" type="datetimeFigureOut">
              <a:rPr lang="en-GB" smtClean="0"/>
              <a:t>11/12/2019</a:t>
            </a:fld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75097E-EB08-4475-9112-275B840279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04358" y="5816819"/>
            <a:ext cx="54944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52E757CD-3B46-4C63-B887-90DD9369982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F296578-6D40-435B-861E-0904DDC10B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2290" y="5816819"/>
            <a:ext cx="33987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1835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2">
          <p15:clr>
            <a:srgbClr val="F26B43"/>
          </p15:clr>
        </p15:guide>
        <p15:guide id="2" pos="574">
          <p15:clr>
            <a:srgbClr val="F26B43"/>
          </p15:clr>
        </p15:guide>
        <p15:guide id="3" pos="7106">
          <p15:clr>
            <a:srgbClr val="F26B43"/>
          </p15:clr>
        </p15:guide>
        <p15:guide id="4" orient="horz" pos="3748">
          <p15:clr>
            <a:srgbClr val="F26B43"/>
          </p15:clr>
        </p15:guide>
        <p15:guide id="5" pos="4407">
          <p15:clr>
            <a:srgbClr val="F26B43"/>
          </p15:clr>
        </p15:guide>
        <p15:guide id="6" pos="3273">
          <p15:clr>
            <a:srgbClr val="F26B43"/>
          </p15:clr>
        </p15:guide>
        <p15:guide id="7" pos="3840">
          <p15:clr>
            <a:srgbClr val="F26B43"/>
          </p15:clr>
        </p15:guide>
        <p15:guide id="8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microsoft.com/office/2007/relationships/hdphoto" Target="../media/hdphoto1.wdp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fif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hyperlink" Target="https://www.youtube.com/watch?v=HX5beh0ubGY" TargetMode="Externa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7" Type="http://schemas.openxmlformats.org/officeDocument/2006/relationships/image" Target="../media/image17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.jpg"/><Relationship Id="rId5" Type="http://schemas.openxmlformats.org/officeDocument/2006/relationships/image" Target="../media/image15.jpg"/><Relationship Id="rId4" Type="http://schemas.openxmlformats.org/officeDocument/2006/relationships/image" Target="../media/image14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5202240E-04CA-4FB1-B8E0-1982DB9BAE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5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19" y="-11744"/>
            <a:ext cx="9658965" cy="6869743"/>
          </a:xfrm>
          <a:prstGeom prst="rect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74000">
                <a:schemeClr val="bg1">
                  <a:lumMod val="75000"/>
                </a:schemeClr>
              </a:gs>
              <a:gs pos="83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0"/>
          </a:gradFill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715720-91DF-486B-BB1F-F8A2638024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7" name="think-cell Slide" r:id="rId8" imgW="359" imgH="360" progId="TCLayout.ActiveDocument.1">
                  <p:embed/>
                </p:oleObj>
              </mc:Choice>
              <mc:Fallback>
                <p:oleObj name="think-cell Slide" r:id="rId8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715720-91DF-486B-BB1F-F8A2638024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DC994BE7-02DE-4C3B-914C-BD37B848D5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1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2893E1-62D1-482B-9F38-038CBEB15126}"/>
              </a:ext>
            </a:extLst>
          </p:cNvPr>
          <p:cNvSpPr/>
          <p:nvPr/>
        </p:nvSpPr>
        <p:spPr>
          <a:xfrm>
            <a:off x="0" y="0"/>
            <a:ext cx="6289933" cy="6858000"/>
          </a:xfrm>
          <a:prstGeom prst="rect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74000">
                <a:schemeClr val="bg1">
                  <a:lumMod val="75000"/>
                </a:schemeClr>
              </a:gs>
              <a:gs pos="83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2F29544-A378-441D-87BB-8FFB21A85DEE}"/>
              </a:ext>
            </a:extLst>
          </p:cNvPr>
          <p:cNvGrpSpPr/>
          <p:nvPr/>
        </p:nvGrpSpPr>
        <p:grpSpPr>
          <a:xfrm>
            <a:off x="6274455" y="-11745"/>
            <a:ext cx="5911139" cy="6795523"/>
            <a:chOff x="6756622" y="8119"/>
            <a:chExt cx="5408411" cy="6841763"/>
          </a:xfrm>
        </p:grpSpPr>
        <p:sp>
          <p:nvSpPr>
            <p:cNvPr id="5" name="Hexagon 4">
              <a:extLst>
                <a:ext uri="{FF2B5EF4-FFF2-40B4-BE49-F238E27FC236}">
                  <a16:creationId xmlns:a16="http://schemas.microsoft.com/office/drawing/2014/main" id="{4A56BBFD-D7BF-44DC-9499-EA0B77175521}"/>
                </a:ext>
              </a:extLst>
            </p:cNvPr>
            <p:cNvSpPr/>
            <p:nvPr/>
          </p:nvSpPr>
          <p:spPr>
            <a:xfrm rot="5400000">
              <a:off x="7274992" y="1195294"/>
              <a:ext cx="1390306" cy="1198540"/>
            </a:xfrm>
            <a:prstGeom prst="hexagon">
              <a:avLst/>
            </a:prstGeom>
            <a:no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Hexagon 5">
              <a:extLst>
                <a:ext uri="{FF2B5EF4-FFF2-40B4-BE49-F238E27FC236}">
                  <a16:creationId xmlns:a16="http://schemas.microsoft.com/office/drawing/2014/main" id="{27FBEDFA-7345-4E0F-A3FE-4C93C2CDFED9}"/>
                </a:ext>
              </a:extLst>
            </p:cNvPr>
            <p:cNvSpPr/>
            <p:nvPr/>
          </p:nvSpPr>
          <p:spPr>
            <a:xfrm rot="5400000">
              <a:off x="8473532" y="1195294"/>
              <a:ext cx="1390306" cy="1198540"/>
            </a:xfrm>
            <a:prstGeom prst="hexagon">
              <a:avLst/>
            </a:prstGeom>
            <a:no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Hexagon 6">
              <a:extLst>
                <a:ext uri="{FF2B5EF4-FFF2-40B4-BE49-F238E27FC236}">
                  <a16:creationId xmlns:a16="http://schemas.microsoft.com/office/drawing/2014/main" id="{8E7852A9-412E-4D5B-8E5A-D1D75AD4AF9D}"/>
                </a:ext>
              </a:extLst>
            </p:cNvPr>
            <p:cNvSpPr/>
            <p:nvPr/>
          </p:nvSpPr>
          <p:spPr>
            <a:xfrm rot="5400000">
              <a:off x="9672072" y="1195294"/>
              <a:ext cx="1390306" cy="1198540"/>
            </a:xfrm>
            <a:prstGeom prst="hexagon">
              <a:avLst/>
            </a:prstGeom>
            <a:no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Hexagon 7">
              <a:extLst>
                <a:ext uri="{FF2B5EF4-FFF2-40B4-BE49-F238E27FC236}">
                  <a16:creationId xmlns:a16="http://schemas.microsoft.com/office/drawing/2014/main" id="{03CF2AD3-B700-416C-BAF3-21586B1FE83D}"/>
                </a:ext>
              </a:extLst>
            </p:cNvPr>
            <p:cNvSpPr/>
            <p:nvPr/>
          </p:nvSpPr>
          <p:spPr>
            <a:xfrm rot="5400000">
              <a:off x="7874262" y="2286586"/>
              <a:ext cx="1390306" cy="1198540"/>
            </a:xfrm>
            <a:prstGeom prst="hexagon">
              <a:avLst/>
            </a:prstGeom>
            <a:no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Hexagon 8">
              <a:extLst>
                <a:ext uri="{FF2B5EF4-FFF2-40B4-BE49-F238E27FC236}">
                  <a16:creationId xmlns:a16="http://schemas.microsoft.com/office/drawing/2014/main" id="{C202AC1E-9B5C-4182-8838-AC6CA97C16B2}"/>
                </a:ext>
              </a:extLst>
            </p:cNvPr>
            <p:cNvSpPr/>
            <p:nvPr/>
          </p:nvSpPr>
          <p:spPr>
            <a:xfrm rot="5400000">
              <a:off x="9072802" y="2286586"/>
              <a:ext cx="1390306" cy="1198540"/>
            </a:xfrm>
            <a:prstGeom prst="hexagon">
              <a:avLst/>
            </a:prstGeom>
            <a:no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Hexagon 9">
              <a:extLst>
                <a:ext uri="{FF2B5EF4-FFF2-40B4-BE49-F238E27FC236}">
                  <a16:creationId xmlns:a16="http://schemas.microsoft.com/office/drawing/2014/main" id="{9AA4AB90-CF93-4BD0-96F9-1019BD0179E7}"/>
                </a:ext>
              </a:extLst>
            </p:cNvPr>
            <p:cNvSpPr/>
            <p:nvPr/>
          </p:nvSpPr>
          <p:spPr>
            <a:xfrm rot="5400000">
              <a:off x="10271341" y="2286586"/>
              <a:ext cx="1390306" cy="1198540"/>
            </a:xfrm>
            <a:prstGeom prst="hexagon">
              <a:avLst/>
            </a:prstGeom>
            <a:no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Hexagon 10">
              <a:extLst>
                <a:ext uri="{FF2B5EF4-FFF2-40B4-BE49-F238E27FC236}">
                  <a16:creationId xmlns:a16="http://schemas.microsoft.com/office/drawing/2014/main" id="{0C89A87D-BE91-4BDE-8D9E-36D88B0F3326}"/>
                </a:ext>
              </a:extLst>
            </p:cNvPr>
            <p:cNvSpPr/>
            <p:nvPr/>
          </p:nvSpPr>
          <p:spPr>
            <a:xfrm rot="5400000">
              <a:off x="7274992" y="3377878"/>
              <a:ext cx="1390306" cy="1198540"/>
            </a:xfrm>
            <a:prstGeom prst="hexagon">
              <a:avLst/>
            </a:prstGeom>
            <a:no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Hexagon 11">
              <a:extLst>
                <a:ext uri="{FF2B5EF4-FFF2-40B4-BE49-F238E27FC236}">
                  <a16:creationId xmlns:a16="http://schemas.microsoft.com/office/drawing/2014/main" id="{6E2BD253-B492-4E0A-A028-D2640627516C}"/>
                </a:ext>
              </a:extLst>
            </p:cNvPr>
            <p:cNvSpPr/>
            <p:nvPr/>
          </p:nvSpPr>
          <p:spPr>
            <a:xfrm rot="5400000">
              <a:off x="8473532" y="3377878"/>
              <a:ext cx="1390306" cy="1198540"/>
            </a:xfrm>
            <a:prstGeom prst="hexagon">
              <a:avLst/>
            </a:prstGeom>
            <a:no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Hexagon 12">
              <a:extLst>
                <a:ext uri="{FF2B5EF4-FFF2-40B4-BE49-F238E27FC236}">
                  <a16:creationId xmlns:a16="http://schemas.microsoft.com/office/drawing/2014/main" id="{B3ECD25C-FD1D-434A-9259-9D52C27ADC3A}"/>
                </a:ext>
              </a:extLst>
            </p:cNvPr>
            <p:cNvSpPr/>
            <p:nvPr/>
          </p:nvSpPr>
          <p:spPr>
            <a:xfrm rot="5400000">
              <a:off x="9672072" y="3377878"/>
              <a:ext cx="1390306" cy="1198540"/>
            </a:xfrm>
            <a:prstGeom prst="hexagon">
              <a:avLst/>
            </a:prstGeom>
            <a:no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Hexagon 13">
              <a:extLst>
                <a:ext uri="{FF2B5EF4-FFF2-40B4-BE49-F238E27FC236}">
                  <a16:creationId xmlns:a16="http://schemas.microsoft.com/office/drawing/2014/main" id="{33A659C8-CFAF-4C65-9653-F55BFA7609F3}"/>
                </a:ext>
              </a:extLst>
            </p:cNvPr>
            <p:cNvSpPr/>
            <p:nvPr/>
          </p:nvSpPr>
          <p:spPr>
            <a:xfrm rot="5400000">
              <a:off x="10870610" y="3377878"/>
              <a:ext cx="1390306" cy="1198540"/>
            </a:xfrm>
            <a:prstGeom prst="hexagon">
              <a:avLst/>
            </a:prstGeom>
            <a:no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Hexagon 14">
              <a:extLst>
                <a:ext uri="{FF2B5EF4-FFF2-40B4-BE49-F238E27FC236}">
                  <a16:creationId xmlns:a16="http://schemas.microsoft.com/office/drawing/2014/main" id="{5FB3424F-3482-4096-B06B-E51922CC513D}"/>
                </a:ext>
              </a:extLst>
            </p:cNvPr>
            <p:cNvSpPr/>
            <p:nvPr/>
          </p:nvSpPr>
          <p:spPr>
            <a:xfrm rot="5400000">
              <a:off x="6675722" y="4469170"/>
              <a:ext cx="1390306" cy="1198540"/>
            </a:xfrm>
            <a:prstGeom prst="hexagon">
              <a:avLst/>
            </a:prstGeom>
            <a:no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Hexagon 15">
              <a:extLst>
                <a:ext uri="{FF2B5EF4-FFF2-40B4-BE49-F238E27FC236}">
                  <a16:creationId xmlns:a16="http://schemas.microsoft.com/office/drawing/2014/main" id="{DF30B8AD-33E6-456E-9DAD-30B6FCB49BED}"/>
                </a:ext>
              </a:extLst>
            </p:cNvPr>
            <p:cNvSpPr/>
            <p:nvPr/>
          </p:nvSpPr>
          <p:spPr>
            <a:xfrm rot="5400000">
              <a:off x="7874263" y="4469170"/>
              <a:ext cx="1390306" cy="1198540"/>
            </a:xfrm>
            <a:prstGeom prst="hexagon">
              <a:avLst/>
            </a:prstGeom>
            <a:no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Hexagon 16">
              <a:extLst>
                <a:ext uri="{FF2B5EF4-FFF2-40B4-BE49-F238E27FC236}">
                  <a16:creationId xmlns:a16="http://schemas.microsoft.com/office/drawing/2014/main" id="{32C3B9FE-145F-40DB-A3EC-CB8321EE4E01}"/>
                </a:ext>
              </a:extLst>
            </p:cNvPr>
            <p:cNvSpPr/>
            <p:nvPr/>
          </p:nvSpPr>
          <p:spPr>
            <a:xfrm rot="5400000">
              <a:off x="9072801" y="4469170"/>
              <a:ext cx="1390306" cy="1198540"/>
            </a:xfrm>
            <a:prstGeom prst="hexagon">
              <a:avLst/>
            </a:prstGeom>
            <a:no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Hexagon 17">
              <a:extLst>
                <a:ext uri="{FF2B5EF4-FFF2-40B4-BE49-F238E27FC236}">
                  <a16:creationId xmlns:a16="http://schemas.microsoft.com/office/drawing/2014/main" id="{2F7B4E89-8406-48A4-B6C9-C59614177D00}"/>
                </a:ext>
              </a:extLst>
            </p:cNvPr>
            <p:cNvSpPr/>
            <p:nvPr/>
          </p:nvSpPr>
          <p:spPr>
            <a:xfrm rot="5400000">
              <a:off x="6675723" y="104002"/>
              <a:ext cx="1390306" cy="1198540"/>
            </a:xfrm>
            <a:prstGeom prst="hexagon">
              <a:avLst/>
            </a:prstGeom>
            <a:no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Hexagon 18">
              <a:extLst>
                <a:ext uri="{FF2B5EF4-FFF2-40B4-BE49-F238E27FC236}">
                  <a16:creationId xmlns:a16="http://schemas.microsoft.com/office/drawing/2014/main" id="{6A62E8CA-348A-42FB-A026-B75F1520059A}"/>
                </a:ext>
              </a:extLst>
            </p:cNvPr>
            <p:cNvSpPr/>
            <p:nvPr/>
          </p:nvSpPr>
          <p:spPr>
            <a:xfrm rot="5400000">
              <a:off x="7874263" y="104002"/>
              <a:ext cx="1390306" cy="1198540"/>
            </a:xfrm>
            <a:prstGeom prst="hexagon">
              <a:avLst/>
            </a:prstGeom>
            <a:no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Hexagon 19">
              <a:extLst>
                <a:ext uri="{FF2B5EF4-FFF2-40B4-BE49-F238E27FC236}">
                  <a16:creationId xmlns:a16="http://schemas.microsoft.com/office/drawing/2014/main" id="{65D043F7-8925-44B0-B266-D205A85DFAD7}"/>
                </a:ext>
              </a:extLst>
            </p:cNvPr>
            <p:cNvSpPr/>
            <p:nvPr/>
          </p:nvSpPr>
          <p:spPr>
            <a:xfrm rot="5400000">
              <a:off x="9072802" y="104002"/>
              <a:ext cx="1390306" cy="1198540"/>
            </a:xfrm>
            <a:prstGeom prst="hexagon">
              <a:avLst/>
            </a:prstGeom>
            <a:no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Hexagon 20">
              <a:extLst>
                <a:ext uri="{FF2B5EF4-FFF2-40B4-BE49-F238E27FC236}">
                  <a16:creationId xmlns:a16="http://schemas.microsoft.com/office/drawing/2014/main" id="{74053171-C3E6-4949-9AEE-91CE5CD9FEBA}"/>
                </a:ext>
              </a:extLst>
            </p:cNvPr>
            <p:cNvSpPr/>
            <p:nvPr/>
          </p:nvSpPr>
          <p:spPr>
            <a:xfrm rot="5400000">
              <a:off x="10271341" y="104002"/>
              <a:ext cx="1390306" cy="1198540"/>
            </a:xfrm>
            <a:prstGeom prst="hexagon">
              <a:avLst/>
            </a:prstGeom>
            <a:no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Hexagon 23">
              <a:extLst>
                <a:ext uri="{FF2B5EF4-FFF2-40B4-BE49-F238E27FC236}">
                  <a16:creationId xmlns:a16="http://schemas.microsoft.com/office/drawing/2014/main" id="{B0CBEA5A-C97B-4AE8-B00C-D98B5FB1F2E7}"/>
                </a:ext>
              </a:extLst>
            </p:cNvPr>
            <p:cNvSpPr/>
            <p:nvPr/>
          </p:nvSpPr>
          <p:spPr>
            <a:xfrm rot="5400000">
              <a:off x="7274992" y="5555459"/>
              <a:ext cx="1390306" cy="1198540"/>
            </a:xfrm>
            <a:prstGeom prst="hexagon">
              <a:avLst/>
            </a:prstGeom>
            <a:no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Hexagon 24">
              <a:extLst>
                <a:ext uri="{FF2B5EF4-FFF2-40B4-BE49-F238E27FC236}">
                  <a16:creationId xmlns:a16="http://schemas.microsoft.com/office/drawing/2014/main" id="{95C8E3D5-98C8-4B22-84F2-EB0FBFAD5E6E}"/>
                </a:ext>
              </a:extLst>
            </p:cNvPr>
            <p:cNvSpPr/>
            <p:nvPr/>
          </p:nvSpPr>
          <p:spPr>
            <a:xfrm rot="5400000">
              <a:off x="8473532" y="5555459"/>
              <a:ext cx="1390306" cy="1198540"/>
            </a:xfrm>
            <a:prstGeom prst="hexagon">
              <a:avLst/>
            </a:prstGeom>
            <a:no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Hexagon 25">
              <a:extLst>
                <a:ext uri="{FF2B5EF4-FFF2-40B4-BE49-F238E27FC236}">
                  <a16:creationId xmlns:a16="http://schemas.microsoft.com/office/drawing/2014/main" id="{69584FD7-3D8F-47F0-B085-B3F4DBEF673E}"/>
                </a:ext>
              </a:extLst>
            </p:cNvPr>
            <p:cNvSpPr/>
            <p:nvPr/>
          </p:nvSpPr>
          <p:spPr>
            <a:xfrm rot="5400000">
              <a:off x="9672072" y="5555459"/>
              <a:ext cx="1390306" cy="1198540"/>
            </a:xfrm>
            <a:prstGeom prst="hexagon">
              <a:avLst/>
            </a:prstGeom>
            <a:no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Hexagon 26">
              <a:extLst>
                <a:ext uri="{FF2B5EF4-FFF2-40B4-BE49-F238E27FC236}">
                  <a16:creationId xmlns:a16="http://schemas.microsoft.com/office/drawing/2014/main" id="{CEAA12CF-8E79-4AA7-98BE-9AB9CD20827A}"/>
                </a:ext>
              </a:extLst>
            </p:cNvPr>
            <p:cNvSpPr/>
            <p:nvPr/>
          </p:nvSpPr>
          <p:spPr>
            <a:xfrm rot="5400000">
              <a:off x="10870610" y="5555459"/>
              <a:ext cx="1390306" cy="1198540"/>
            </a:xfrm>
            <a:prstGeom prst="hexagon">
              <a:avLst/>
            </a:prstGeom>
            <a:no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Hexagon 30">
              <a:extLst>
                <a:ext uri="{FF2B5EF4-FFF2-40B4-BE49-F238E27FC236}">
                  <a16:creationId xmlns:a16="http://schemas.microsoft.com/office/drawing/2014/main" id="{CE9E47AA-B70F-4DEF-80D8-E830D2237F01}"/>
                </a:ext>
              </a:extLst>
            </p:cNvPr>
            <p:cNvSpPr/>
            <p:nvPr/>
          </p:nvSpPr>
          <p:spPr>
            <a:xfrm rot="5400000">
              <a:off x="6660739" y="2286586"/>
              <a:ext cx="1390306" cy="1198540"/>
            </a:xfrm>
            <a:prstGeom prst="hexagon">
              <a:avLst/>
            </a:prstGeom>
            <a:no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28F5A5EC-1307-4016-B3F5-5CC6A02262AC}"/>
              </a:ext>
            </a:extLst>
          </p:cNvPr>
          <p:cNvSpPr/>
          <p:nvPr/>
        </p:nvSpPr>
        <p:spPr>
          <a:xfrm>
            <a:off x="6096001" y="6446661"/>
            <a:ext cx="1664472" cy="411339"/>
          </a:xfrm>
          <a:prstGeom prst="triangle">
            <a:avLst>
              <a:gd name="adj" fmla="val 51837"/>
            </a:avLst>
          </a:prstGeom>
          <a:solidFill>
            <a:schemeClr val="bg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Hexagon 39">
            <a:extLst>
              <a:ext uri="{FF2B5EF4-FFF2-40B4-BE49-F238E27FC236}">
                <a16:creationId xmlns:a16="http://schemas.microsoft.com/office/drawing/2014/main" id="{66E461BE-85B3-4889-B862-60DC6E1DA1BC}"/>
              </a:ext>
            </a:extLst>
          </p:cNvPr>
          <p:cNvSpPr/>
          <p:nvPr/>
        </p:nvSpPr>
        <p:spPr>
          <a:xfrm rot="5400000">
            <a:off x="6132772" y="-495746"/>
            <a:ext cx="314321" cy="1293435"/>
          </a:xfrm>
          <a:custGeom>
            <a:avLst/>
            <a:gdLst>
              <a:gd name="connsiteX0" fmla="*/ 0 w 1390306"/>
              <a:gd name="connsiteY0" fmla="*/ 599270 h 1198540"/>
              <a:gd name="connsiteX1" fmla="*/ 299635 w 1390306"/>
              <a:gd name="connsiteY1" fmla="*/ 0 h 1198540"/>
              <a:gd name="connsiteX2" fmla="*/ 1090671 w 1390306"/>
              <a:gd name="connsiteY2" fmla="*/ 0 h 1198540"/>
              <a:gd name="connsiteX3" fmla="*/ 1390306 w 1390306"/>
              <a:gd name="connsiteY3" fmla="*/ 599270 h 1198540"/>
              <a:gd name="connsiteX4" fmla="*/ 1090671 w 1390306"/>
              <a:gd name="connsiteY4" fmla="*/ 1198540 h 1198540"/>
              <a:gd name="connsiteX5" fmla="*/ 299635 w 1390306"/>
              <a:gd name="connsiteY5" fmla="*/ 1198540 h 1198540"/>
              <a:gd name="connsiteX6" fmla="*/ 0 w 1390306"/>
              <a:gd name="connsiteY6" fmla="*/ 599270 h 1198540"/>
              <a:gd name="connsiteX0" fmla="*/ 0 w 1390306"/>
              <a:gd name="connsiteY0" fmla="*/ 599270 h 1198540"/>
              <a:gd name="connsiteX1" fmla="*/ 299635 w 1390306"/>
              <a:gd name="connsiteY1" fmla="*/ 0 h 1198540"/>
              <a:gd name="connsiteX2" fmla="*/ 1090671 w 1390306"/>
              <a:gd name="connsiteY2" fmla="*/ 0 h 1198540"/>
              <a:gd name="connsiteX3" fmla="*/ 1390306 w 1390306"/>
              <a:gd name="connsiteY3" fmla="*/ 599270 h 1198540"/>
              <a:gd name="connsiteX4" fmla="*/ 1090671 w 1390306"/>
              <a:gd name="connsiteY4" fmla="*/ 1198540 h 1198540"/>
              <a:gd name="connsiteX5" fmla="*/ 299635 w 1390306"/>
              <a:gd name="connsiteY5" fmla="*/ 1198540 h 1198540"/>
              <a:gd name="connsiteX6" fmla="*/ 91440 w 1390306"/>
              <a:gd name="connsiteY6" fmla="*/ 690710 h 1198540"/>
              <a:gd name="connsiteX0" fmla="*/ 0 w 1390306"/>
              <a:gd name="connsiteY0" fmla="*/ 599270 h 1198540"/>
              <a:gd name="connsiteX1" fmla="*/ 299635 w 1390306"/>
              <a:gd name="connsiteY1" fmla="*/ 0 h 1198540"/>
              <a:gd name="connsiteX2" fmla="*/ 1090671 w 1390306"/>
              <a:gd name="connsiteY2" fmla="*/ 0 h 1198540"/>
              <a:gd name="connsiteX3" fmla="*/ 1390306 w 1390306"/>
              <a:gd name="connsiteY3" fmla="*/ 599270 h 1198540"/>
              <a:gd name="connsiteX4" fmla="*/ 1090671 w 1390306"/>
              <a:gd name="connsiteY4" fmla="*/ 1198540 h 1198540"/>
              <a:gd name="connsiteX5" fmla="*/ 299635 w 1390306"/>
              <a:gd name="connsiteY5" fmla="*/ 1198540 h 1198540"/>
              <a:gd name="connsiteX0" fmla="*/ 0 w 1390306"/>
              <a:gd name="connsiteY0" fmla="*/ 599270 h 1198540"/>
              <a:gd name="connsiteX1" fmla="*/ 299635 w 1390306"/>
              <a:gd name="connsiteY1" fmla="*/ 0 h 1198540"/>
              <a:gd name="connsiteX2" fmla="*/ 1090671 w 1390306"/>
              <a:gd name="connsiteY2" fmla="*/ 0 h 1198540"/>
              <a:gd name="connsiteX3" fmla="*/ 1390306 w 1390306"/>
              <a:gd name="connsiteY3" fmla="*/ 599270 h 1198540"/>
              <a:gd name="connsiteX4" fmla="*/ 1090671 w 1390306"/>
              <a:gd name="connsiteY4" fmla="*/ 1198540 h 1198540"/>
              <a:gd name="connsiteX0" fmla="*/ 0 w 1090671"/>
              <a:gd name="connsiteY0" fmla="*/ 0 h 1198540"/>
              <a:gd name="connsiteX1" fmla="*/ 791036 w 1090671"/>
              <a:gd name="connsiteY1" fmla="*/ 0 h 1198540"/>
              <a:gd name="connsiteX2" fmla="*/ 1090671 w 1090671"/>
              <a:gd name="connsiteY2" fmla="*/ 599270 h 1198540"/>
              <a:gd name="connsiteX3" fmla="*/ 791036 w 1090671"/>
              <a:gd name="connsiteY3" fmla="*/ 1198540 h 1198540"/>
              <a:gd name="connsiteX0" fmla="*/ 0 w 299635"/>
              <a:gd name="connsiteY0" fmla="*/ 0 h 1198540"/>
              <a:gd name="connsiteX1" fmla="*/ 299635 w 299635"/>
              <a:gd name="connsiteY1" fmla="*/ 599270 h 1198540"/>
              <a:gd name="connsiteX2" fmla="*/ 0 w 299635"/>
              <a:gd name="connsiteY2" fmla="*/ 1198540 h 1198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9635" h="1198540">
                <a:moveTo>
                  <a:pt x="0" y="0"/>
                </a:moveTo>
                <a:lnTo>
                  <a:pt x="299635" y="599270"/>
                </a:lnTo>
                <a:lnTo>
                  <a:pt x="0" y="1198540"/>
                </a:lnTo>
              </a:path>
            </a:pathLst>
          </a:custGeom>
          <a:solidFill>
            <a:schemeClr val="bg2">
              <a:lumMod val="50000"/>
            </a:schemeClr>
          </a:solidFill>
          <a:ln w="57150">
            <a:solidFill>
              <a:schemeClr val="bg1">
                <a:alpha val="2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037653A-EC37-4BA0-A040-26D8A69A8569}"/>
              </a:ext>
            </a:extLst>
          </p:cNvPr>
          <p:cNvSpPr/>
          <p:nvPr/>
        </p:nvSpPr>
        <p:spPr>
          <a:xfrm>
            <a:off x="143251" y="5635607"/>
            <a:ext cx="1198540" cy="45719"/>
          </a:xfrm>
          <a:prstGeom prst="rect">
            <a:avLst/>
          </a:prstGeom>
          <a:solidFill>
            <a:srgbClr val="9595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E2410-2033-406D-8727-FEDFE1E3724E}"/>
              </a:ext>
            </a:extLst>
          </p:cNvPr>
          <p:cNvGrpSpPr/>
          <p:nvPr/>
        </p:nvGrpSpPr>
        <p:grpSpPr>
          <a:xfrm>
            <a:off x="4993528" y="-11743"/>
            <a:ext cx="2609297" cy="6805112"/>
            <a:chOff x="5546320" y="25684"/>
            <a:chExt cx="2386455" cy="6805112"/>
          </a:xfrm>
          <a:gradFill>
            <a:gsLst>
              <a:gs pos="0">
                <a:schemeClr val="bg2">
                  <a:lumMod val="50000"/>
                </a:schemeClr>
              </a:gs>
              <a:gs pos="74000">
                <a:schemeClr val="bg1">
                  <a:lumMod val="75000"/>
                </a:schemeClr>
              </a:gs>
              <a:gs pos="83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0"/>
          </a:gradFill>
        </p:grpSpPr>
        <p:sp>
          <p:nvSpPr>
            <p:cNvPr id="30" name="Hexagon 29">
              <a:extLst>
                <a:ext uri="{FF2B5EF4-FFF2-40B4-BE49-F238E27FC236}">
                  <a16:creationId xmlns:a16="http://schemas.microsoft.com/office/drawing/2014/main" id="{40CD8A41-8F45-41C0-96FD-77EBA94617D9}"/>
                </a:ext>
              </a:extLst>
            </p:cNvPr>
            <p:cNvSpPr/>
            <p:nvPr/>
          </p:nvSpPr>
          <p:spPr>
            <a:xfrm rot="5400000">
              <a:off x="6076452" y="1195294"/>
              <a:ext cx="1390306" cy="1198540"/>
            </a:xfrm>
            <a:prstGeom prst="hexagon">
              <a:avLst/>
            </a:prstGeom>
            <a:grp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Hexagon 31">
              <a:extLst>
                <a:ext uri="{FF2B5EF4-FFF2-40B4-BE49-F238E27FC236}">
                  <a16:creationId xmlns:a16="http://schemas.microsoft.com/office/drawing/2014/main" id="{BB59A1D1-8D7F-462C-A60E-64D227F46873}"/>
                </a:ext>
              </a:extLst>
            </p:cNvPr>
            <p:cNvSpPr/>
            <p:nvPr/>
          </p:nvSpPr>
          <p:spPr>
            <a:xfrm rot="5400000">
              <a:off x="5450437" y="2286586"/>
              <a:ext cx="1390306" cy="1198540"/>
            </a:xfrm>
            <a:prstGeom prst="hexagon">
              <a:avLst/>
            </a:prstGeom>
            <a:grpFill/>
            <a:ln w="57150">
              <a:solidFill>
                <a:schemeClr val="bg1">
                  <a:alpha val="16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Hexagon 32">
              <a:extLst>
                <a:ext uri="{FF2B5EF4-FFF2-40B4-BE49-F238E27FC236}">
                  <a16:creationId xmlns:a16="http://schemas.microsoft.com/office/drawing/2014/main" id="{E1156DA5-42A5-4CAE-8541-9360E13C89ED}"/>
                </a:ext>
              </a:extLst>
            </p:cNvPr>
            <p:cNvSpPr/>
            <p:nvPr/>
          </p:nvSpPr>
          <p:spPr>
            <a:xfrm rot="5400000">
              <a:off x="6069410" y="3360724"/>
              <a:ext cx="1390306" cy="1198540"/>
            </a:xfrm>
            <a:prstGeom prst="hexagon">
              <a:avLst/>
            </a:prstGeom>
            <a:grp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Hexagon 33">
              <a:extLst>
                <a:ext uri="{FF2B5EF4-FFF2-40B4-BE49-F238E27FC236}">
                  <a16:creationId xmlns:a16="http://schemas.microsoft.com/office/drawing/2014/main" id="{D13BAD97-187A-43A3-A27F-FB5484141225}"/>
                </a:ext>
              </a:extLst>
            </p:cNvPr>
            <p:cNvSpPr/>
            <p:nvPr/>
          </p:nvSpPr>
          <p:spPr>
            <a:xfrm rot="5400000">
              <a:off x="5474200" y="4433279"/>
              <a:ext cx="1390306" cy="1198540"/>
            </a:xfrm>
            <a:prstGeom prst="hexagon">
              <a:avLst/>
            </a:prstGeom>
            <a:grpFill/>
            <a:ln w="57150">
              <a:solidFill>
                <a:schemeClr val="bg1">
                  <a:alpha val="18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Hexagon 34">
              <a:extLst>
                <a:ext uri="{FF2B5EF4-FFF2-40B4-BE49-F238E27FC236}">
                  <a16:creationId xmlns:a16="http://schemas.microsoft.com/office/drawing/2014/main" id="{7C5EC166-FB30-416D-8FF6-77AE1CDB1C3D}"/>
                </a:ext>
              </a:extLst>
            </p:cNvPr>
            <p:cNvSpPr/>
            <p:nvPr/>
          </p:nvSpPr>
          <p:spPr>
            <a:xfrm rot="5400000">
              <a:off x="6069263" y="5536373"/>
              <a:ext cx="1390306" cy="1198540"/>
            </a:xfrm>
            <a:prstGeom prst="hexagon">
              <a:avLst/>
            </a:prstGeom>
            <a:grpFill/>
            <a:ln w="57150"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1" name="Hexagon 40">
              <a:extLst>
                <a:ext uri="{FF2B5EF4-FFF2-40B4-BE49-F238E27FC236}">
                  <a16:creationId xmlns:a16="http://schemas.microsoft.com/office/drawing/2014/main" id="{66FDF503-4419-4264-9AD2-954D66A5A93D}"/>
                </a:ext>
              </a:extLst>
            </p:cNvPr>
            <p:cNvSpPr/>
            <p:nvPr/>
          </p:nvSpPr>
          <p:spPr>
            <a:xfrm rot="5400000">
              <a:off x="5468318" y="142258"/>
              <a:ext cx="1390306" cy="1198540"/>
            </a:xfrm>
            <a:prstGeom prst="hexagon">
              <a:avLst/>
            </a:prstGeom>
            <a:grpFill/>
            <a:ln w="57150">
              <a:solidFill>
                <a:schemeClr val="bg1">
                  <a:alpha val="12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Hexagon 43">
              <a:extLst>
                <a:ext uri="{FF2B5EF4-FFF2-40B4-BE49-F238E27FC236}">
                  <a16:creationId xmlns:a16="http://schemas.microsoft.com/office/drawing/2014/main" id="{9291BACA-260B-43E9-8D2F-3D029E255ACE}"/>
                </a:ext>
              </a:extLst>
            </p:cNvPr>
            <p:cNvSpPr/>
            <p:nvPr/>
          </p:nvSpPr>
          <p:spPr>
            <a:xfrm rot="5400000">
              <a:off x="6638352" y="121567"/>
              <a:ext cx="1390306" cy="1198540"/>
            </a:xfrm>
            <a:prstGeom prst="hexagon">
              <a:avLst/>
            </a:prstGeom>
            <a:grpFill/>
            <a:ln w="57150">
              <a:solidFill>
                <a:schemeClr val="bg1">
                  <a:alpha val="52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7" name="Title 36">
            <a:extLst>
              <a:ext uri="{FF2B5EF4-FFF2-40B4-BE49-F238E27FC236}">
                <a16:creationId xmlns:a16="http://schemas.microsoft.com/office/drawing/2014/main" id="{277CDAF2-6295-48BE-BC9A-1DF33BBC8835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259814" y="606641"/>
            <a:ext cx="5478257" cy="2437590"/>
          </a:xfrm>
        </p:spPr>
        <p:txBody>
          <a:bodyPr wrap="square" lIns="0" tIns="0" rIns="0" bIns="0" anchor="ctr">
            <a:spAutoFit/>
          </a:bodyPr>
          <a:lstStyle/>
          <a:p>
            <a:r>
              <a:rPr lang="ru-RU" sz="4400" b="0" dirty="0">
                <a:solidFill>
                  <a:schemeClr val="bg1"/>
                </a:solidFill>
                <a:effectLst>
                  <a:outerShdw blurRad="38100" dist="38100" dir="2700000" algn="tl">
                    <a:schemeClr val="bg1"/>
                  </a:outerShdw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УВОЂЕЊЕ САВРЕМЕ ТЕХНОЛОГИЈЕ У ПРОЦЕС ЗАМЕНЕ ЦЕВОВОДА</a:t>
            </a:r>
            <a:endParaRPr lang="en-US" sz="4400" b="0" dirty="0">
              <a:solidFill>
                <a:schemeClr val="bg1"/>
              </a:solidFill>
              <a:effectLst>
                <a:outerShdw blurRad="38100" dist="38100" dir="2700000" algn="tl">
                  <a:schemeClr val="bg1"/>
                </a:outerShdw>
              </a:effectLst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63152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6000">
        <p15:prstTrans prst="curtains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37BEF3-1368-40C3-B40D-D17B8BBC1F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9367"/>
            <a:ext cx="10863618" cy="1271497"/>
          </a:xfrm>
        </p:spPr>
        <p:txBody>
          <a:bodyPr>
            <a:noAutofit/>
          </a:bodyPr>
          <a:lstStyle/>
          <a:p>
            <a:pPr algn="ctr"/>
            <a:r>
              <a:rPr lang="sr-Cyrl-RS" sz="3600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КЛАСИЧНА МЕТОДА</a:t>
            </a:r>
            <a:r>
              <a:rPr lang="sr-Cyrl-RS" sz="3600" dirty="0">
                <a:solidFill>
                  <a:srgbClr val="1A4E6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br>
              <a:rPr lang="en-US" sz="3600" dirty="0">
                <a:solidFill>
                  <a:srgbClr val="1A4E6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sr-Latn-BA" sz="3600" i="1" dirty="0">
                <a:solidFill>
                  <a:srgbClr val="95959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S</a:t>
            </a:r>
            <a:r>
              <a:rPr lang="en-US" sz="3600" i="1" dirty="0">
                <a:solidFill>
                  <a:srgbClr val="95959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sr-Cyrl-RS" sz="3600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АВРЕМЕНА</a:t>
            </a:r>
            <a:endParaRPr lang="en-GB" sz="3600" dirty="0">
              <a:solidFill>
                <a:schemeClr val="bg2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DD1840B-A7FA-42C6-AE8F-2388AB603555}"/>
              </a:ext>
            </a:extLst>
          </p:cNvPr>
          <p:cNvSpPr/>
          <p:nvPr/>
        </p:nvSpPr>
        <p:spPr>
          <a:xfrm>
            <a:off x="4832539" y="1340105"/>
            <a:ext cx="1198540" cy="45719"/>
          </a:xfrm>
          <a:prstGeom prst="rect">
            <a:avLst/>
          </a:prstGeom>
          <a:solidFill>
            <a:srgbClr val="9595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4D87B7A-D600-4F15-B656-1A8CA21C387F}"/>
              </a:ext>
            </a:extLst>
          </p:cNvPr>
          <p:cNvGrpSpPr/>
          <p:nvPr/>
        </p:nvGrpSpPr>
        <p:grpSpPr>
          <a:xfrm>
            <a:off x="158117" y="1565452"/>
            <a:ext cx="10507023" cy="5292550"/>
            <a:chOff x="158117" y="1695154"/>
            <a:chExt cx="10507023" cy="5162847"/>
          </a:xfrm>
          <a:gradFill>
            <a:gsLst>
              <a:gs pos="0">
                <a:schemeClr val="bg1">
                  <a:lumMod val="75000"/>
                </a:schemeClr>
              </a:gs>
              <a:gs pos="74000">
                <a:schemeClr val="bg1">
                  <a:lumMod val="75000"/>
                </a:schemeClr>
              </a:gs>
              <a:gs pos="83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</a:gra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9A3EC2A-B223-476B-9D73-F9A0869CFCE7}"/>
                </a:ext>
              </a:extLst>
            </p:cNvPr>
            <p:cNvSpPr/>
            <p:nvPr/>
          </p:nvSpPr>
          <p:spPr>
            <a:xfrm rot="5400000">
              <a:off x="869777" y="1212679"/>
              <a:ext cx="4933662" cy="6356982"/>
            </a:xfrm>
            <a:custGeom>
              <a:avLst/>
              <a:gdLst>
                <a:gd name="connsiteX0" fmla="*/ 0 w 4933662"/>
                <a:gd name="connsiteY0" fmla="*/ 3959573 h 6356982"/>
                <a:gd name="connsiteX1" fmla="*/ 0 w 4933662"/>
                <a:gd name="connsiteY1" fmla="*/ 2397409 h 6356982"/>
                <a:gd name="connsiteX2" fmla="*/ 2397409 w 4933662"/>
                <a:gd name="connsiteY2" fmla="*/ 0 h 6356982"/>
                <a:gd name="connsiteX3" fmla="*/ 4422206 w 4933662"/>
                <a:gd name="connsiteY3" fmla="*/ 0 h 6356982"/>
                <a:gd name="connsiteX4" fmla="*/ 4905368 w 4933662"/>
                <a:gd name="connsiteY4" fmla="*/ 48707 h 6356982"/>
                <a:gd name="connsiteX5" fmla="*/ 4933662 w 4933662"/>
                <a:gd name="connsiteY5" fmla="*/ 55982 h 6356982"/>
                <a:gd name="connsiteX6" fmla="*/ 4933662 w 4933662"/>
                <a:gd name="connsiteY6" fmla="*/ 6301000 h 6356982"/>
                <a:gd name="connsiteX7" fmla="*/ 4905368 w 4933662"/>
                <a:gd name="connsiteY7" fmla="*/ 6308275 h 6356982"/>
                <a:gd name="connsiteX8" fmla="*/ 4422206 w 4933662"/>
                <a:gd name="connsiteY8" fmla="*/ 6356982 h 6356982"/>
                <a:gd name="connsiteX9" fmla="*/ 2397409 w 4933662"/>
                <a:gd name="connsiteY9" fmla="*/ 6356982 h 6356982"/>
                <a:gd name="connsiteX10" fmla="*/ 0 w 4933662"/>
                <a:gd name="connsiteY10" fmla="*/ 3959573 h 6356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933662" h="6356982">
                  <a:moveTo>
                    <a:pt x="0" y="3959573"/>
                  </a:moveTo>
                  <a:lnTo>
                    <a:pt x="0" y="2397409"/>
                  </a:lnTo>
                  <a:cubicBezTo>
                    <a:pt x="0" y="1073357"/>
                    <a:pt x="1073357" y="0"/>
                    <a:pt x="2397409" y="0"/>
                  </a:cubicBezTo>
                  <a:lnTo>
                    <a:pt x="4422206" y="0"/>
                  </a:lnTo>
                  <a:cubicBezTo>
                    <a:pt x="4587713" y="0"/>
                    <a:pt x="4749302" y="16771"/>
                    <a:pt x="4905368" y="48707"/>
                  </a:cubicBezTo>
                  <a:lnTo>
                    <a:pt x="4933662" y="55982"/>
                  </a:lnTo>
                  <a:lnTo>
                    <a:pt x="4933662" y="6301000"/>
                  </a:lnTo>
                  <a:lnTo>
                    <a:pt x="4905368" y="6308275"/>
                  </a:lnTo>
                  <a:cubicBezTo>
                    <a:pt x="4749302" y="6340211"/>
                    <a:pt x="4587713" y="6356982"/>
                    <a:pt x="4422206" y="6356982"/>
                  </a:cubicBezTo>
                  <a:lnTo>
                    <a:pt x="2397409" y="6356982"/>
                  </a:lnTo>
                  <a:cubicBezTo>
                    <a:pt x="1073357" y="6356982"/>
                    <a:pt x="0" y="5283625"/>
                    <a:pt x="0" y="3959573"/>
                  </a:cubicBez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B86AB93-429E-4204-9FBF-610800D857FB}"/>
                </a:ext>
              </a:extLst>
            </p:cNvPr>
            <p:cNvSpPr/>
            <p:nvPr/>
          </p:nvSpPr>
          <p:spPr>
            <a:xfrm rot="5400000">
              <a:off x="3933675" y="2069637"/>
              <a:ext cx="5162847" cy="4413881"/>
            </a:xfrm>
            <a:custGeom>
              <a:avLst/>
              <a:gdLst>
                <a:gd name="connsiteX0" fmla="*/ 0 w 5162847"/>
                <a:gd name="connsiteY0" fmla="*/ 2749274 h 4413881"/>
                <a:gd name="connsiteX1" fmla="*/ 0 w 5162847"/>
                <a:gd name="connsiteY1" fmla="*/ 1664606 h 4413881"/>
                <a:gd name="connsiteX2" fmla="*/ 1664607 w 5162847"/>
                <a:gd name="connsiteY2" fmla="*/ 0 h 4413881"/>
                <a:gd name="connsiteX3" fmla="*/ 4440366 w 5162847"/>
                <a:gd name="connsiteY3" fmla="*/ 0 h 4413881"/>
                <a:gd name="connsiteX4" fmla="*/ 5088306 w 5162847"/>
                <a:gd name="connsiteY4" fmla="*/ 130813 h 4413881"/>
                <a:gd name="connsiteX5" fmla="*/ 5162847 w 5162847"/>
                <a:gd name="connsiteY5" fmla="*/ 166721 h 4413881"/>
                <a:gd name="connsiteX6" fmla="*/ 5162847 w 5162847"/>
                <a:gd name="connsiteY6" fmla="*/ 4247160 h 4413881"/>
                <a:gd name="connsiteX7" fmla="*/ 5088306 w 5162847"/>
                <a:gd name="connsiteY7" fmla="*/ 4283068 h 4413881"/>
                <a:gd name="connsiteX8" fmla="*/ 4440366 w 5162847"/>
                <a:gd name="connsiteY8" fmla="*/ 4413881 h 4413881"/>
                <a:gd name="connsiteX9" fmla="*/ 1664607 w 5162847"/>
                <a:gd name="connsiteY9" fmla="*/ 4413881 h 4413881"/>
                <a:gd name="connsiteX10" fmla="*/ 0 w 5162847"/>
                <a:gd name="connsiteY10" fmla="*/ 2749274 h 4413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162847" h="4413881">
                  <a:moveTo>
                    <a:pt x="0" y="2749274"/>
                  </a:moveTo>
                  <a:lnTo>
                    <a:pt x="0" y="1664606"/>
                  </a:lnTo>
                  <a:cubicBezTo>
                    <a:pt x="0" y="745269"/>
                    <a:pt x="745270" y="0"/>
                    <a:pt x="1664607" y="0"/>
                  </a:cubicBezTo>
                  <a:lnTo>
                    <a:pt x="4440366" y="0"/>
                  </a:lnTo>
                  <a:cubicBezTo>
                    <a:pt x="4670201" y="0"/>
                    <a:pt x="4889156" y="46579"/>
                    <a:pt x="5088306" y="130813"/>
                  </a:cubicBezTo>
                  <a:lnTo>
                    <a:pt x="5162847" y="166721"/>
                  </a:lnTo>
                  <a:lnTo>
                    <a:pt x="5162847" y="4247160"/>
                  </a:lnTo>
                  <a:lnTo>
                    <a:pt x="5088306" y="4283068"/>
                  </a:lnTo>
                  <a:cubicBezTo>
                    <a:pt x="4889156" y="4367302"/>
                    <a:pt x="4670201" y="4413881"/>
                    <a:pt x="4440366" y="4413881"/>
                  </a:cubicBezTo>
                  <a:lnTo>
                    <a:pt x="1664607" y="4413881"/>
                  </a:lnTo>
                  <a:cubicBezTo>
                    <a:pt x="745270" y="4413881"/>
                    <a:pt x="0" y="3668611"/>
                    <a:pt x="0" y="2749274"/>
                  </a:cubicBez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3B43C68-1B7B-4A08-AE6B-FECE57FA08D2}"/>
                </a:ext>
              </a:extLst>
            </p:cNvPr>
            <p:cNvSpPr/>
            <p:nvPr/>
          </p:nvSpPr>
          <p:spPr>
            <a:xfrm rot="5400000">
              <a:off x="6828749" y="3021609"/>
              <a:ext cx="4791959" cy="2880823"/>
            </a:xfrm>
            <a:custGeom>
              <a:avLst/>
              <a:gdLst>
                <a:gd name="connsiteX0" fmla="*/ 0 w 4791959"/>
                <a:gd name="connsiteY0" fmla="*/ 1794378 h 2880823"/>
                <a:gd name="connsiteX1" fmla="*/ 0 w 4791959"/>
                <a:gd name="connsiteY1" fmla="*/ 1086445 h 2880823"/>
                <a:gd name="connsiteX2" fmla="*/ 1086445 w 4791959"/>
                <a:gd name="connsiteY2" fmla="*/ 0 h 2880823"/>
                <a:gd name="connsiteX3" fmla="*/ 4791959 w 4791959"/>
                <a:gd name="connsiteY3" fmla="*/ 0 h 2880823"/>
                <a:gd name="connsiteX4" fmla="*/ 4791959 w 4791959"/>
                <a:gd name="connsiteY4" fmla="*/ 2880823 h 2880823"/>
                <a:gd name="connsiteX5" fmla="*/ 1086445 w 4791959"/>
                <a:gd name="connsiteY5" fmla="*/ 2880823 h 2880823"/>
                <a:gd name="connsiteX6" fmla="*/ 0 w 4791959"/>
                <a:gd name="connsiteY6" fmla="*/ 1794378 h 2880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91959" h="2880823">
                  <a:moveTo>
                    <a:pt x="0" y="1794378"/>
                  </a:moveTo>
                  <a:lnTo>
                    <a:pt x="0" y="1086445"/>
                  </a:lnTo>
                  <a:cubicBezTo>
                    <a:pt x="0" y="486418"/>
                    <a:pt x="486418" y="0"/>
                    <a:pt x="1086445" y="0"/>
                  </a:cubicBezTo>
                  <a:lnTo>
                    <a:pt x="4791959" y="0"/>
                  </a:lnTo>
                  <a:lnTo>
                    <a:pt x="4791959" y="2880823"/>
                  </a:lnTo>
                  <a:lnTo>
                    <a:pt x="1086445" y="2880823"/>
                  </a:lnTo>
                  <a:cubicBezTo>
                    <a:pt x="486418" y="2880823"/>
                    <a:pt x="0" y="2394405"/>
                    <a:pt x="0" y="1794378"/>
                  </a:cubicBez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</p:grp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7FBF64C-1EE6-4945-8078-B7DB2570A295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95" y="2052640"/>
            <a:ext cx="5478131" cy="33534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57D647A-CB39-44F2-B38F-11DEDFE768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0727" y="2052752"/>
            <a:ext cx="5616677" cy="33534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592169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DAE8A3B0-5E97-4F3D-8BCB-E687E5F59186}"/>
              </a:ext>
            </a:extLst>
          </p:cNvPr>
          <p:cNvSpPr/>
          <p:nvPr/>
        </p:nvSpPr>
        <p:spPr>
          <a:xfrm>
            <a:off x="2116539" y="3903085"/>
            <a:ext cx="3243622" cy="2918408"/>
          </a:xfrm>
          <a:prstGeom prst="flowChartConnector">
            <a:avLst/>
          </a:prstGeom>
          <a:solidFill>
            <a:srgbClr val="959595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6BA7F8-D68C-4DA7-A5F4-BC7D3F5872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0713493" cy="945498"/>
          </a:xfrm>
        </p:spPr>
        <p:txBody>
          <a:bodyPr/>
          <a:lstStyle/>
          <a:p>
            <a:pPr algn="ctr"/>
            <a:r>
              <a:rPr lang="sr-Cyrl-RS" sz="3600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ИЗВОЂЕЊЕ </a:t>
            </a:r>
            <a:r>
              <a:rPr lang="sr-Cyrl-RS" sz="3600" dirty="0">
                <a:solidFill>
                  <a:srgbClr val="95959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РАДОВА</a:t>
            </a:r>
            <a:endParaRPr lang="en-GB" sz="3600" dirty="0">
              <a:solidFill>
                <a:srgbClr val="95959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A4569A8-67E0-460A-8485-93A32837B9CE}"/>
              </a:ext>
            </a:extLst>
          </p:cNvPr>
          <p:cNvSpPr/>
          <p:nvPr/>
        </p:nvSpPr>
        <p:spPr>
          <a:xfrm>
            <a:off x="5037164" y="899779"/>
            <a:ext cx="1198540" cy="45719"/>
          </a:xfrm>
          <a:prstGeom prst="rect">
            <a:avLst/>
          </a:prstGeom>
          <a:solidFill>
            <a:srgbClr val="9595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lowchart: Connector 2">
            <a:extLst>
              <a:ext uri="{FF2B5EF4-FFF2-40B4-BE49-F238E27FC236}">
                <a16:creationId xmlns:a16="http://schemas.microsoft.com/office/drawing/2014/main" id="{4749C08B-2901-4AA2-B430-CCB3539378C9}"/>
              </a:ext>
            </a:extLst>
          </p:cNvPr>
          <p:cNvSpPr/>
          <p:nvPr/>
        </p:nvSpPr>
        <p:spPr>
          <a:xfrm>
            <a:off x="204716" y="1049875"/>
            <a:ext cx="3548418" cy="3249170"/>
          </a:xfrm>
          <a:prstGeom prst="flowChartConnector">
            <a:avLst/>
          </a:prstGeom>
          <a:solidFill>
            <a:schemeClr val="bg2">
              <a:lumMod val="50000"/>
            </a:schemeClr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920517D2-9EEC-479F-B00B-6C521D185EB8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357114" y="1215256"/>
            <a:ext cx="3243622" cy="2918408"/>
          </a:xfrm>
          <a:prstGeom prst="flowChartConnector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38B8397-B965-498E-892E-E5E08A0E16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6545" y="4030756"/>
            <a:ext cx="3073177" cy="2663066"/>
          </a:xfrm>
          <a:prstGeom prst="flowChartConnector">
            <a:avLst/>
          </a:prstGeom>
        </p:spPr>
      </p:pic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2C05C31D-9DDE-44A5-8F19-7E84C70BAEC3}"/>
              </a:ext>
            </a:extLst>
          </p:cNvPr>
          <p:cNvSpPr/>
          <p:nvPr/>
        </p:nvSpPr>
        <p:spPr>
          <a:xfrm>
            <a:off x="4791384" y="1062257"/>
            <a:ext cx="3548418" cy="3249170"/>
          </a:xfrm>
          <a:prstGeom prst="flowChartConnector">
            <a:avLst/>
          </a:prstGeom>
          <a:solidFill>
            <a:schemeClr val="bg2">
              <a:lumMod val="50000"/>
            </a:schemeClr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A2BD587-124B-4CBF-BDA2-A6FE526F212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133" r="8173"/>
          <a:stretch/>
        </p:blipFill>
        <p:spPr>
          <a:xfrm>
            <a:off x="4930412" y="1214191"/>
            <a:ext cx="3327304" cy="2945301"/>
          </a:xfrm>
          <a:prstGeom prst="flowChartConnector">
            <a:avLst/>
          </a:prstGeom>
        </p:spPr>
      </p:pic>
      <p:sp>
        <p:nvSpPr>
          <p:cNvPr id="11" name="Flowchart: Connector 10">
            <a:extLst>
              <a:ext uri="{FF2B5EF4-FFF2-40B4-BE49-F238E27FC236}">
                <a16:creationId xmlns:a16="http://schemas.microsoft.com/office/drawing/2014/main" id="{E6D2F38B-EBAB-4DEE-B200-A1C2E2136B79}"/>
              </a:ext>
            </a:extLst>
          </p:cNvPr>
          <p:cNvSpPr/>
          <p:nvPr/>
        </p:nvSpPr>
        <p:spPr>
          <a:xfrm>
            <a:off x="8223992" y="2240331"/>
            <a:ext cx="3548417" cy="3249169"/>
          </a:xfrm>
          <a:prstGeom prst="flowChartConnector">
            <a:avLst/>
          </a:prstGeom>
          <a:solidFill>
            <a:srgbClr val="959595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0D33238-1DE8-4B07-BEE0-8DB55B71F67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7356" r="13108"/>
          <a:stretch/>
        </p:blipFill>
        <p:spPr>
          <a:xfrm>
            <a:off x="8334348" y="2405500"/>
            <a:ext cx="3327703" cy="2918830"/>
          </a:xfrm>
          <a:prstGeom prst="flowChartConnector">
            <a:avLst/>
          </a:prstGeom>
        </p:spPr>
      </p:pic>
    </p:spTree>
    <p:extLst>
      <p:ext uri="{BB962C8B-B14F-4D97-AF65-F5344CB8AC3E}">
        <p14:creationId xmlns:p14="http://schemas.microsoft.com/office/powerpoint/2010/main" val="2839633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88A3020-0CF0-4C5F-BCE6-5C3BDF36CB47}"/>
              </a:ext>
            </a:extLst>
          </p:cNvPr>
          <p:cNvCxnSpPr>
            <a:cxnSpLocks/>
          </p:cNvCxnSpPr>
          <p:nvPr/>
        </p:nvCxnSpPr>
        <p:spPr>
          <a:xfrm>
            <a:off x="0" y="4920017"/>
            <a:ext cx="9949218" cy="0"/>
          </a:xfrm>
          <a:prstGeom prst="line">
            <a:avLst/>
          </a:prstGeom>
          <a:ln w="762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bg2">
                    <a:lumMod val="40000"/>
                    <a:lumOff val="60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5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256344A-C6F2-4E38-9270-134440D8A7FD}"/>
              </a:ext>
            </a:extLst>
          </p:cNvPr>
          <p:cNvCxnSpPr>
            <a:cxnSpLocks/>
          </p:cNvCxnSpPr>
          <p:nvPr/>
        </p:nvCxnSpPr>
        <p:spPr>
          <a:xfrm>
            <a:off x="0" y="5413611"/>
            <a:ext cx="9965140" cy="0"/>
          </a:xfrm>
          <a:prstGeom prst="line">
            <a:avLst/>
          </a:prstGeom>
          <a:ln w="762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bg2">
                    <a:lumMod val="40000"/>
                    <a:lumOff val="60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5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AEE3A8B-4393-4FD4-A022-0DD57D473FCF}"/>
              </a:ext>
            </a:extLst>
          </p:cNvPr>
          <p:cNvCxnSpPr>
            <a:cxnSpLocks/>
          </p:cNvCxnSpPr>
          <p:nvPr/>
        </p:nvCxnSpPr>
        <p:spPr>
          <a:xfrm>
            <a:off x="0" y="4019265"/>
            <a:ext cx="9965140" cy="0"/>
          </a:xfrm>
          <a:prstGeom prst="line">
            <a:avLst/>
          </a:prstGeom>
          <a:ln w="762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bg2">
                    <a:lumMod val="40000"/>
                    <a:lumOff val="60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5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C788AE-84E3-4BDE-8EEA-816DBE101EED}"/>
              </a:ext>
            </a:extLst>
          </p:cNvPr>
          <p:cNvCxnSpPr>
            <a:cxnSpLocks/>
          </p:cNvCxnSpPr>
          <p:nvPr/>
        </p:nvCxnSpPr>
        <p:spPr>
          <a:xfrm>
            <a:off x="0" y="3525671"/>
            <a:ext cx="9949218" cy="0"/>
          </a:xfrm>
          <a:prstGeom prst="line">
            <a:avLst/>
          </a:prstGeom>
          <a:ln w="762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bg2">
                    <a:lumMod val="40000"/>
                    <a:lumOff val="60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5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4905A75-1DC5-4120-A401-C433E8BEBA49}"/>
              </a:ext>
            </a:extLst>
          </p:cNvPr>
          <p:cNvCxnSpPr>
            <a:cxnSpLocks/>
          </p:cNvCxnSpPr>
          <p:nvPr/>
        </p:nvCxnSpPr>
        <p:spPr>
          <a:xfrm>
            <a:off x="0" y="2543033"/>
            <a:ext cx="9965140" cy="0"/>
          </a:xfrm>
          <a:prstGeom prst="line">
            <a:avLst/>
          </a:prstGeom>
          <a:ln w="762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bg2">
                    <a:lumMod val="40000"/>
                    <a:lumOff val="60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5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9FD41BE-235E-4D34-945B-FC0F1936EEA5}"/>
              </a:ext>
            </a:extLst>
          </p:cNvPr>
          <p:cNvCxnSpPr>
            <a:cxnSpLocks/>
          </p:cNvCxnSpPr>
          <p:nvPr/>
        </p:nvCxnSpPr>
        <p:spPr>
          <a:xfrm>
            <a:off x="0" y="2049439"/>
            <a:ext cx="9949218" cy="0"/>
          </a:xfrm>
          <a:prstGeom prst="line">
            <a:avLst/>
          </a:prstGeom>
          <a:ln w="762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bg2">
                    <a:lumMod val="40000"/>
                    <a:lumOff val="60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5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3B238C2-96AA-4272-A66E-F665DDBC3A8E}"/>
              </a:ext>
            </a:extLst>
          </p:cNvPr>
          <p:cNvCxnSpPr>
            <a:cxnSpLocks/>
          </p:cNvCxnSpPr>
          <p:nvPr/>
        </p:nvCxnSpPr>
        <p:spPr>
          <a:xfrm>
            <a:off x="0" y="5948149"/>
            <a:ext cx="9949218" cy="0"/>
          </a:xfrm>
          <a:prstGeom prst="line">
            <a:avLst/>
          </a:prstGeom>
          <a:ln w="762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bg2">
                    <a:lumMod val="40000"/>
                    <a:lumOff val="60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5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D623977-8294-4E60-9179-EFAE83CCE71F}"/>
              </a:ext>
            </a:extLst>
          </p:cNvPr>
          <p:cNvCxnSpPr>
            <a:cxnSpLocks/>
          </p:cNvCxnSpPr>
          <p:nvPr/>
        </p:nvCxnSpPr>
        <p:spPr>
          <a:xfrm>
            <a:off x="0" y="4485564"/>
            <a:ext cx="9949218" cy="0"/>
          </a:xfrm>
          <a:prstGeom prst="line">
            <a:avLst/>
          </a:prstGeom>
          <a:ln w="762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bg2">
                    <a:lumMod val="40000"/>
                    <a:lumOff val="60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5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B5C1244-CF80-46E5-A263-5B709B1E89FB}"/>
              </a:ext>
            </a:extLst>
          </p:cNvPr>
          <p:cNvCxnSpPr>
            <a:cxnSpLocks/>
          </p:cNvCxnSpPr>
          <p:nvPr/>
        </p:nvCxnSpPr>
        <p:spPr>
          <a:xfrm>
            <a:off x="0" y="3036627"/>
            <a:ext cx="9949218" cy="0"/>
          </a:xfrm>
          <a:prstGeom prst="line">
            <a:avLst/>
          </a:prstGeom>
          <a:ln w="762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bg2">
                    <a:lumMod val="40000"/>
                    <a:lumOff val="60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5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753E6FC-041A-4DAE-9137-632D9F3F5048}"/>
              </a:ext>
            </a:extLst>
          </p:cNvPr>
          <p:cNvCxnSpPr>
            <a:cxnSpLocks/>
          </p:cNvCxnSpPr>
          <p:nvPr/>
        </p:nvCxnSpPr>
        <p:spPr>
          <a:xfrm>
            <a:off x="0" y="1569493"/>
            <a:ext cx="9965140" cy="0"/>
          </a:xfrm>
          <a:prstGeom prst="line">
            <a:avLst/>
          </a:prstGeom>
          <a:ln w="762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bg2">
                    <a:lumMod val="40000"/>
                    <a:lumOff val="60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5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videoplayback">
            <a:hlinkClick r:id="" action="ppaction://media"/>
            <a:extLst>
              <a:ext uri="{FF2B5EF4-FFF2-40B4-BE49-F238E27FC236}">
                <a16:creationId xmlns:a16="http://schemas.microsoft.com/office/drawing/2014/main" id="{48235855-A1BF-47F0-A68E-394C043DC7B1}"/>
              </a:ext>
            </a:extLst>
          </p:cNvPr>
          <p:cNvPicPr>
            <a:picLocks noGrp="1" noChangeAspect="1"/>
          </p:cNvPicPr>
          <p:nvPr>
            <p:ph idx="4294967295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10570" y="101221"/>
            <a:ext cx="9144000" cy="6462215"/>
          </a:xfrm>
          <a:prstGeom prst="roundRect">
            <a:avLst>
              <a:gd name="adj" fmla="val 36368"/>
            </a:avLst>
          </a:prstGeom>
          <a:ln w="762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bg2">
                    <a:lumMod val="40000"/>
                    <a:lumOff val="60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50000"/>
                  </a:schemeClr>
                </a:gs>
              </a:gsLst>
              <a:lin ang="5400000" scaled="1"/>
            </a:gradFill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8F007B5-ABE9-4A75-9784-08F43AFF974C}"/>
              </a:ext>
            </a:extLst>
          </p:cNvPr>
          <p:cNvSpPr txBox="1"/>
          <p:nvPr/>
        </p:nvSpPr>
        <p:spPr>
          <a:xfrm>
            <a:off x="6730407" y="6563436"/>
            <a:ext cx="56483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dirty="0">
                <a:solidFill>
                  <a:schemeClr val="bg2">
                    <a:lumMod val="50000"/>
                  </a:schemeClr>
                </a:solidFill>
              </a:rPr>
              <a:t>Извор:</a:t>
            </a:r>
            <a:r>
              <a:rPr lang="en-GB" b="1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youtube.com/watch?v=HX5beh0ubGY</a:t>
            </a:r>
            <a:endParaRPr lang="sr-Latn-BA" b="1" dirty="0">
              <a:solidFill>
                <a:schemeClr val="bg2">
                  <a:lumMod val="50000"/>
                </a:schemeClr>
              </a:solidFill>
              <a:latin typeface="Calibri Light" panose="020F0302020204030204" pitchFamily="34" charset="0"/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324891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6000">
        <p15:prstTrans prst="curtains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410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10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4C84875-D149-4CD4-A5D7-8C762CDE1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7681"/>
            <a:ext cx="11353800" cy="854075"/>
          </a:xfrm>
        </p:spPr>
        <p:txBody>
          <a:bodyPr/>
          <a:lstStyle/>
          <a:p>
            <a:pPr algn="ctr"/>
            <a:r>
              <a:rPr lang="sr-Cyrl-RS" sz="3600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РИМЕР</a:t>
            </a:r>
            <a:endParaRPr lang="en-GB" sz="3600" dirty="0">
              <a:solidFill>
                <a:schemeClr val="bg2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B329D2D-99BE-4B9B-ABC5-F7A1988720EC}"/>
              </a:ext>
            </a:extLst>
          </p:cNvPr>
          <p:cNvSpPr/>
          <p:nvPr/>
        </p:nvSpPr>
        <p:spPr>
          <a:xfrm>
            <a:off x="5077630" y="866061"/>
            <a:ext cx="1198540" cy="45719"/>
          </a:xfrm>
          <a:prstGeom prst="rect">
            <a:avLst/>
          </a:prstGeom>
          <a:solidFill>
            <a:srgbClr val="9595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Content Placeholder 3">
            <a:extLst>
              <a:ext uri="{FF2B5EF4-FFF2-40B4-BE49-F238E27FC236}">
                <a16:creationId xmlns:a16="http://schemas.microsoft.com/office/drawing/2014/main" id="{EEDFBCE1-1989-49D0-A1C0-ABFC196214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337" y="1219200"/>
            <a:ext cx="3638154" cy="2420471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AC7D13C0-95E0-4C67-A24D-83314540AD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632" y="3992810"/>
            <a:ext cx="3644858" cy="2494376"/>
          </a:xfrm>
          <a:prstGeom prst="rect">
            <a:avLst/>
          </a:prstGeom>
        </p:spPr>
      </p:pic>
      <p:pic>
        <p:nvPicPr>
          <p:cNvPr id="39" name="Content Placeholder 4">
            <a:extLst>
              <a:ext uri="{FF2B5EF4-FFF2-40B4-BE49-F238E27FC236}">
                <a16:creationId xmlns:a16="http://schemas.microsoft.com/office/drawing/2014/main" id="{A70D2D77-7F2A-4AC4-B84A-1014ECE167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355" y="1219200"/>
            <a:ext cx="3408170" cy="2420471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D0FD123E-E866-4961-8B4F-FC312F4405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3388" y="1219200"/>
            <a:ext cx="3469275" cy="242047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F9D429CC-ECC1-4AF3-87C0-11041C19A58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0092" y="3995654"/>
            <a:ext cx="3469276" cy="2417627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7CFAAB27-1889-4A16-A872-017E51043C7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354" y="3992810"/>
            <a:ext cx="3408169" cy="2420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289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41D913D-D292-4731-8557-1EE61E27AE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2520"/>
            <a:ext cx="10781731" cy="956793"/>
          </a:xfrm>
        </p:spPr>
        <p:txBody>
          <a:bodyPr>
            <a:noAutofit/>
          </a:bodyPr>
          <a:lstStyle/>
          <a:p>
            <a:pPr algn="ctr"/>
            <a:r>
              <a:rPr lang="sr-Cyrl-RS" sz="3600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ЗАКЉУЧАК</a:t>
            </a:r>
            <a:endParaRPr lang="en-GB" sz="3600" dirty="0">
              <a:solidFill>
                <a:schemeClr val="bg2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3659053-69BC-4CD2-ACDF-5103C7D2379E}"/>
              </a:ext>
            </a:extLst>
          </p:cNvPr>
          <p:cNvSpPr/>
          <p:nvPr/>
        </p:nvSpPr>
        <p:spPr>
          <a:xfrm>
            <a:off x="4897460" y="933594"/>
            <a:ext cx="1198540" cy="45719"/>
          </a:xfrm>
          <a:prstGeom prst="rect">
            <a:avLst/>
          </a:prstGeom>
          <a:solidFill>
            <a:srgbClr val="9595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BC4BB6-E1A1-41C1-92F7-9491B889F8D3}"/>
              </a:ext>
            </a:extLst>
          </p:cNvPr>
          <p:cNvSpPr txBox="1"/>
          <p:nvPr/>
        </p:nvSpPr>
        <p:spPr>
          <a:xfrm>
            <a:off x="1615396" y="1448232"/>
            <a:ext cx="46538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>
                <a:solidFill>
                  <a:srgbClr val="1A4E66"/>
                </a:solidFill>
                <a:latin typeface="Calibri Light" panose="020F0302020204030204" pitchFamily="34" charset="0"/>
              </a:rPr>
              <a:t>Рекапитулација предмера и предрачуна радова код безископне методе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0DAD3DF-78AC-4E34-82D8-16AF49FE644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r="-8375"/>
          <a:stretch/>
        </p:blipFill>
        <p:spPr>
          <a:xfrm>
            <a:off x="1615395" y="2156118"/>
            <a:ext cx="7397092" cy="1935682"/>
          </a:xfrm>
          <a:prstGeom prst="rect">
            <a:avLst/>
          </a:prstGeom>
        </p:spPr>
      </p:pic>
      <p:sp>
        <p:nvSpPr>
          <p:cNvPr id="7" name="Flowchart: Connector 6">
            <a:extLst>
              <a:ext uri="{FF2B5EF4-FFF2-40B4-BE49-F238E27FC236}">
                <a16:creationId xmlns:a16="http://schemas.microsoft.com/office/drawing/2014/main" id="{0064E86A-F9B2-4F97-86E2-B525B6D7CA68}"/>
              </a:ext>
            </a:extLst>
          </p:cNvPr>
          <p:cNvSpPr/>
          <p:nvPr/>
        </p:nvSpPr>
        <p:spPr>
          <a:xfrm>
            <a:off x="416256" y="1392070"/>
            <a:ext cx="1023582" cy="956793"/>
          </a:xfrm>
          <a:prstGeom prst="flowChartConnector">
            <a:avLst/>
          </a:prstGeom>
          <a:solidFill>
            <a:schemeClr val="bg2">
              <a:lumMod val="50000"/>
            </a:schemeClr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8" name="Freeform 128">
            <a:extLst>
              <a:ext uri="{FF2B5EF4-FFF2-40B4-BE49-F238E27FC236}">
                <a16:creationId xmlns:a16="http://schemas.microsoft.com/office/drawing/2014/main" id="{6B0DE58D-D65F-417A-8D63-5D49C30C51E3}"/>
              </a:ext>
            </a:extLst>
          </p:cNvPr>
          <p:cNvSpPr>
            <a:spLocks noEditPoints="1"/>
          </p:cNvSpPr>
          <p:nvPr/>
        </p:nvSpPr>
        <p:spPr bwMode="auto">
          <a:xfrm>
            <a:off x="698453" y="1584816"/>
            <a:ext cx="459188" cy="571302"/>
          </a:xfrm>
          <a:custGeom>
            <a:avLst/>
            <a:gdLst>
              <a:gd name="T0" fmla="*/ 438 w 445"/>
              <a:gd name="T1" fmla="*/ 57 h 553"/>
              <a:gd name="T2" fmla="*/ 388 w 445"/>
              <a:gd name="T3" fmla="*/ 57 h 553"/>
              <a:gd name="T4" fmla="*/ 388 w 445"/>
              <a:gd name="T5" fmla="*/ 7 h 553"/>
              <a:gd name="T6" fmla="*/ 381 w 445"/>
              <a:gd name="T7" fmla="*/ 0 h 553"/>
              <a:gd name="T8" fmla="*/ 7 w 445"/>
              <a:gd name="T9" fmla="*/ 0 h 553"/>
              <a:gd name="T10" fmla="*/ 0 w 445"/>
              <a:gd name="T11" fmla="*/ 7 h 553"/>
              <a:gd name="T12" fmla="*/ 0 w 445"/>
              <a:gd name="T13" fmla="*/ 489 h 553"/>
              <a:gd name="T14" fmla="*/ 7 w 445"/>
              <a:gd name="T15" fmla="*/ 496 h 553"/>
              <a:gd name="T16" fmla="*/ 57 w 445"/>
              <a:gd name="T17" fmla="*/ 496 h 553"/>
              <a:gd name="T18" fmla="*/ 57 w 445"/>
              <a:gd name="T19" fmla="*/ 546 h 553"/>
              <a:gd name="T20" fmla="*/ 64 w 445"/>
              <a:gd name="T21" fmla="*/ 553 h 553"/>
              <a:gd name="T22" fmla="*/ 438 w 445"/>
              <a:gd name="T23" fmla="*/ 553 h 553"/>
              <a:gd name="T24" fmla="*/ 445 w 445"/>
              <a:gd name="T25" fmla="*/ 546 h 553"/>
              <a:gd name="T26" fmla="*/ 445 w 445"/>
              <a:gd name="T27" fmla="*/ 64 h 553"/>
              <a:gd name="T28" fmla="*/ 438 w 445"/>
              <a:gd name="T29" fmla="*/ 57 h 553"/>
              <a:gd name="T30" fmla="*/ 14 w 445"/>
              <a:gd name="T31" fmla="*/ 14 h 553"/>
              <a:gd name="T32" fmla="*/ 374 w 445"/>
              <a:gd name="T33" fmla="*/ 14 h 553"/>
              <a:gd name="T34" fmla="*/ 374 w 445"/>
              <a:gd name="T35" fmla="*/ 482 h 553"/>
              <a:gd name="T36" fmla="*/ 14 w 445"/>
              <a:gd name="T37" fmla="*/ 482 h 553"/>
              <a:gd name="T38" fmla="*/ 14 w 445"/>
              <a:gd name="T39" fmla="*/ 14 h 553"/>
              <a:gd name="T40" fmla="*/ 431 w 445"/>
              <a:gd name="T41" fmla="*/ 539 h 553"/>
              <a:gd name="T42" fmla="*/ 71 w 445"/>
              <a:gd name="T43" fmla="*/ 539 h 553"/>
              <a:gd name="T44" fmla="*/ 71 w 445"/>
              <a:gd name="T45" fmla="*/ 496 h 553"/>
              <a:gd name="T46" fmla="*/ 381 w 445"/>
              <a:gd name="T47" fmla="*/ 496 h 553"/>
              <a:gd name="T48" fmla="*/ 388 w 445"/>
              <a:gd name="T49" fmla="*/ 489 h 553"/>
              <a:gd name="T50" fmla="*/ 388 w 445"/>
              <a:gd name="T51" fmla="*/ 71 h 553"/>
              <a:gd name="T52" fmla="*/ 431 w 445"/>
              <a:gd name="T53" fmla="*/ 71 h 553"/>
              <a:gd name="T54" fmla="*/ 431 w 445"/>
              <a:gd name="T55" fmla="*/ 539 h 553"/>
              <a:gd name="T56" fmla="*/ 75 w 445"/>
              <a:gd name="T57" fmla="*/ 335 h 553"/>
              <a:gd name="T58" fmla="*/ 75 w 445"/>
              <a:gd name="T59" fmla="*/ 325 h 553"/>
              <a:gd name="T60" fmla="*/ 145 w 445"/>
              <a:gd name="T61" fmla="*/ 256 h 553"/>
              <a:gd name="T62" fmla="*/ 155 w 445"/>
              <a:gd name="T63" fmla="*/ 256 h 553"/>
              <a:gd name="T64" fmla="*/ 194 w 445"/>
              <a:gd name="T65" fmla="*/ 295 h 553"/>
              <a:gd name="T66" fmla="*/ 288 w 445"/>
              <a:gd name="T67" fmla="*/ 201 h 553"/>
              <a:gd name="T68" fmla="*/ 210 w 445"/>
              <a:gd name="T69" fmla="*/ 201 h 553"/>
              <a:gd name="T70" fmla="*/ 203 w 445"/>
              <a:gd name="T71" fmla="*/ 194 h 553"/>
              <a:gd name="T72" fmla="*/ 210 w 445"/>
              <a:gd name="T73" fmla="*/ 187 h 553"/>
              <a:gd name="T74" fmla="*/ 304 w 445"/>
              <a:gd name="T75" fmla="*/ 187 h 553"/>
              <a:gd name="T76" fmla="*/ 310 w 445"/>
              <a:gd name="T77" fmla="*/ 189 h 553"/>
              <a:gd name="T78" fmla="*/ 310 w 445"/>
              <a:gd name="T79" fmla="*/ 189 h 553"/>
              <a:gd name="T80" fmla="*/ 311 w 445"/>
              <a:gd name="T81" fmla="*/ 196 h 553"/>
              <a:gd name="T82" fmla="*/ 311 w 445"/>
              <a:gd name="T83" fmla="*/ 288 h 553"/>
              <a:gd name="T84" fmla="*/ 304 w 445"/>
              <a:gd name="T85" fmla="*/ 295 h 553"/>
              <a:gd name="T86" fmla="*/ 297 w 445"/>
              <a:gd name="T87" fmla="*/ 288 h 553"/>
              <a:gd name="T88" fmla="*/ 297 w 445"/>
              <a:gd name="T89" fmla="*/ 211 h 553"/>
              <a:gd name="T90" fmla="*/ 199 w 445"/>
              <a:gd name="T91" fmla="*/ 310 h 553"/>
              <a:gd name="T92" fmla="*/ 189 w 445"/>
              <a:gd name="T93" fmla="*/ 310 h 553"/>
              <a:gd name="T94" fmla="*/ 150 w 445"/>
              <a:gd name="T95" fmla="*/ 271 h 553"/>
              <a:gd name="T96" fmla="*/ 85 w 445"/>
              <a:gd name="T97" fmla="*/ 335 h 553"/>
              <a:gd name="T98" fmla="*/ 80 w 445"/>
              <a:gd name="T99" fmla="*/ 337 h 553"/>
              <a:gd name="T100" fmla="*/ 75 w 445"/>
              <a:gd name="T101" fmla="*/ 335 h 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45" h="553">
                <a:moveTo>
                  <a:pt x="438" y="57"/>
                </a:moveTo>
                <a:cubicBezTo>
                  <a:pt x="388" y="57"/>
                  <a:pt x="388" y="57"/>
                  <a:pt x="388" y="57"/>
                </a:cubicBezTo>
                <a:cubicBezTo>
                  <a:pt x="388" y="7"/>
                  <a:pt x="388" y="7"/>
                  <a:pt x="388" y="7"/>
                </a:cubicBezTo>
                <a:cubicBezTo>
                  <a:pt x="388" y="3"/>
                  <a:pt x="385" y="0"/>
                  <a:pt x="381" y="0"/>
                </a:cubicBez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489"/>
                  <a:pt x="0" y="489"/>
                  <a:pt x="0" y="489"/>
                </a:cubicBezTo>
                <a:cubicBezTo>
                  <a:pt x="0" y="493"/>
                  <a:pt x="3" y="496"/>
                  <a:pt x="7" y="496"/>
                </a:cubicBezTo>
                <a:cubicBezTo>
                  <a:pt x="57" y="496"/>
                  <a:pt x="57" y="496"/>
                  <a:pt x="57" y="496"/>
                </a:cubicBezTo>
                <a:cubicBezTo>
                  <a:pt x="57" y="546"/>
                  <a:pt x="57" y="546"/>
                  <a:pt x="57" y="546"/>
                </a:cubicBezTo>
                <a:cubicBezTo>
                  <a:pt x="57" y="550"/>
                  <a:pt x="60" y="553"/>
                  <a:pt x="64" y="553"/>
                </a:cubicBezTo>
                <a:cubicBezTo>
                  <a:pt x="438" y="553"/>
                  <a:pt x="438" y="553"/>
                  <a:pt x="438" y="553"/>
                </a:cubicBezTo>
                <a:cubicBezTo>
                  <a:pt x="442" y="553"/>
                  <a:pt x="445" y="550"/>
                  <a:pt x="445" y="546"/>
                </a:cubicBezTo>
                <a:cubicBezTo>
                  <a:pt x="445" y="64"/>
                  <a:pt x="445" y="64"/>
                  <a:pt x="445" y="64"/>
                </a:cubicBezTo>
                <a:cubicBezTo>
                  <a:pt x="445" y="60"/>
                  <a:pt x="442" y="57"/>
                  <a:pt x="438" y="57"/>
                </a:cubicBezTo>
                <a:close/>
                <a:moveTo>
                  <a:pt x="14" y="14"/>
                </a:moveTo>
                <a:cubicBezTo>
                  <a:pt x="374" y="14"/>
                  <a:pt x="374" y="14"/>
                  <a:pt x="374" y="14"/>
                </a:cubicBezTo>
                <a:cubicBezTo>
                  <a:pt x="374" y="482"/>
                  <a:pt x="374" y="482"/>
                  <a:pt x="374" y="482"/>
                </a:cubicBezTo>
                <a:cubicBezTo>
                  <a:pt x="14" y="482"/>
                  <a:pt x="14" y="482"/>
                  <a:pt x="14" y="482"/>
                </a:cubicBezTo>
                <a:lnTo>
                  <a:pt x="14" y="14"/>
                </a:lnTo>
                <a:close/>
                <a:moveTo>
                  <a:pt x="431" y="539"/>
                </a:moveTo>
                <a:cubicBezTo>
                  <a:pt x="71" y="539"/>
                  <a:pt x="71" y="539"/>
                  <a:pt x="71" y="539"/>
                </a:cubicBezTo>
                <a:cubicBezTo>
                  <a:pt x="71" y="496"/>
                  <a:pt x="71" y="496"/>
                  <a:pt x="71" y="496"/>
                </a:cubicBezTo>
                <a:cubicBezTo>
                  <a:pt x="381" y="496"/>
                  <a:pt x="381" y="496"/>
                  <a:pt x="381" y="496"/>
                </a:cubicBezTo>
                <a:cubicBezTo>
                  <a:pt x="385" y="496"/>
                  <a:pt x="388" y="493"/>
                  <a:pt x="388" y="489"/>
                </a:cubicBezTo>
                <a:cubicBezTo>
                  <a:pt x="388" y="71"/>
                  <a:pt x="388" y="71"/>
                  <a:pt x="388" y="71"/>
                </a:cubicBezTo>
                <a:cubicBezTo>
                  <a:pt x="431" y="71"/>
                  <a:pt x="431" y="71"/>
                  <a:pt x="431" y="71"/>
                </a:cubicBezTo>
                <a:lnTo>
                  <a:pt x="431" y="539"/>
                </a:lnTo>
                <a:close/>
                <a:moveTo>
                  <a:pt x="75" y="335"/>
                </a:moveTo>
                <a:cubicBezTo>
                  <a:pt x="72" y="333"/>
                  <a:pt x="72" y="328"/>
                  <a:pt x="75" y="325"/>
                </a:cubicBezTo>
                <a:cubicBezTo>
                  <a:pt x="145" y="256"/>
                  <a:pt x="145" y="256"/>
                  <a:pt x="145" y="256"/>
                </a:cubicBezTo>
                <a:cubicBezTo>
                  <a:pt x="147" y="253"/>
                  <a:pt x="152" y="253"/>
                  <a:pt x="155" y="256"/>
                </a:cubicBezTo>
                <a:cubicBezTo>
                  <a:pt x="194" y="295"/>
                  <a:pt x="194" y="295"/>
                  <a:pt x="194" y="295"/>
                </a:cubicBezTo>
                <a:cubicBezTo>
                  <a:pt x="288" y="201"/>
                  <a:pt x="288" y="201"/>
                  <a:pt x="288" y="201"/>
                </a:cubicBezTo>
                <a:cubicBezTo>
                  <a:pt x="210" y="201"/>
                  <a:pt x="210" y="201"/>
                  <a:pt x="210" y="201"/>
                </a:cubicBezTo>
                <a:cubicBezTo>
                  <a:pt x="207" y="201"/>
                  <a:pt x="203" y="198"/>
                  <a:pt x="203" y="194"/>
                </a:cubicBezTo>
                <a:cubicBezTo>
                  <a:pt x="203" y="190"/>
                  <a:pt x="207" y="187"/>
                  <a:pt x="210" y="187"/>
                </a:cubicBezTo>
                <a:cubicBezTo>
                  <a:pt x="304" y="187"/>
                  <a:pt x="304" y="187"/>
                  <a:pt x="304" y="187"/>
                </a:cubicBezTo>
                <a:cubicBezTo>
                  <a:pt x="306" y="187"/>
                  <a:pt x="308" y="188"/>
                  <a:pt x="310" y="189"/>
                </a:cubicBezTo>
                <a:cubicBezTo>
                  <a:pt x="310" y="189"/>
                  <a:pt x="310" y="189"/>
                  <a:pt x="310" y="189"/>
                </a:cubicBezTo>
                <a:cubicBezTo>
                  <a:pt x="312" y="191"/>
                  <a:pt x="312" y="194"/>
                  <a:pt x="311" y="196"/>
                </a:cubicBezTo>
                <a:cubicBezTo>
                  <a:pt x="311" y="288"/>
                  <a:pt x="311" y="288"/>
                  <a:pt x="311" y="288"/>
                </a:cubicBezTo>
                <a:cubicBezTo>
                  <a:pt x="311" y="292"/>
                  <a:pt x="308" y="295"/>
                  <a:pt x="304" y="295"/>
                </a:cubicBezTo>
                <a:cubicBezTo>
                  <a:pt x="301" y="295"/>
                  <a:pt x="297" y="292"/>
                  <a:pt x="297" y="288"/>
                </a:cubicBezTo>
                <a:cubicBezTo>
                  <a:pt x="297" y="211"/>
                  <a:pt x="297" y="211"/>
                  <a:pt x="297" y="211"/>
                </a:cubicBezTo>
                <a:cubicBezTo>
                  <a:pt x="199" y="310"/>
                  <a:pt x="199" y="310"/>
                  <a:pt x="199" y="310"/>
                </a:cubicBezTo>
                <a:cubicBezTo>
                  <a:pt x="196" y="313"/>
                  <a:pt x="192" y="313"/>
                  <a:pt x="189" y="310"/>
                </a:cubicBezTo>
                <a:cubicBezTo>
                  <a:pt x="150" y="271"/>
                  <a:pt x="150" y="271"/>
                  <a:pt x="150" y="271"/>
                </a:cubicBezTo>
                <a:cubicBezTo>
                  <a:pt x="85" y="335"/>
                  <a:pt x="85" y="335"/>
                  <a:pt x="85" y="335"/>
                </a:cubicBezTo>
                <a:cubicBezTo>
                  <a:pt x="84" y="337"/>
                  <a:pt x="82" y="337"/>
                  <a:pt x="80" y="337"/>
                </a:cubicBezTo>
                <a:cubicBezTo>
                  <a:pt x="78" y="337"/>
                  <a:pt x="76" y="337"/>
                  <a:pt x="75" y="33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C64D034-8FCA-4CA6-8443-EEDF523F87BD}"/>
              </a:ext>
            </a:extLst>
          </p:cNvPr>
          <p:cNvSpPr txBox="1"/>
          <p:nvPr/>
        </p:nvSpPr>
        <p:spPr>
          <a:xfrm>
            <a:off x="1615395" y="4103105"/>
            <a:ext cx="465388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>
                <a:solidFill>
                  <a:srgbClr val="1A4E66"/>
                </a:solidFill>
                <a:latin typeface="Calibri Light" panose="020F0302020204030204" pitchFamily="34" charset="0"/>
              </a:rPr>
              <a:t>Рекапитулација предмера и предрачуна радова комбиновањем метода</a:t>
            </a:r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3494A61B-0A3F-4FC7-84DA-3B80F7487D5A}"/>
              </a:ext>
            </a:extLst>
          </p:cNvPr>
          <p:cNvSpPr/>
          <p:nvPr/>
        </p:nvSpPr>
        <p:spPr>
          <a:xfrm>
            <a:off x="400501" y="3978651"/>
            <a:ext cx="1023582" cy="956793"/>
          </a:xfrm>
          <a:prstGeom prst="flowChartConnector">
            <a:avLst/>
          </a:prstGeom>
          <a:solidFill>
            <a:srgbClr val="959595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11" name="Freeform 120">
            <a:extLst>
              <a:ext uri="{FF2B5EF4-FFF2-40B4-BE49-F238E27FC236}">
                <a16:creationId xmlns:a16="http://schemas.microsoft.com/office/drawing/2014/main" id="{C2C4D91B-810D-421F-B160-05BDAE79D080}"/>
              </a:ext>
            </a:extLst>
          </p:cNvPr>
          <p:cNvSpPr>
            <a:spLocks noEditPoints="1"/>
          </p:cNvSpPr>
          <p:nvPr/>
        </p:nvSpPr>
        <p:spPr bwMode="auto">
          <a:xfrm>
            <a:off x="627104" y="4168414"/>
            <a:ext cx="575505" cy="577265"/>
          </a:xfrm>
          <a:custGeom>
            <a:avLst/>
            <a:gdLst>
              <a:gd name="T0" fmla="*/ 498 w 558"/>
              <a:gd name="T1" fmla="*/ 298 h 559"/>
              <a:gd name="T2" fmla="*/ 488 w 558"/>
              <a:gd name="T3" fmla="*/ 288 h 559"/>
              <a:gd name="T4" fmla="*/ 452 w 558"/>
              <a:gd name="T5" fmla="*/ 217 h 559"/>
              <a:gd name="T6" fmla="*/ 554 w 558"/>
              <a:gd name="T7" fmla="*/ 113 h 559"/>
              <a:gd name="T8" fmla="*/ 450 w 558"/>
              <a:gd name="T9" fmla="*/ 6 h 559"/>
              <a:gd name="T10" fmla="*/ 343 w 558"/>
              <a:gd name="T11" fmla="*/ 103 h 559"/>
              <a:gd name="T12" fmla="*/ 290 w 558"/>
              <a:gd name="T13" fmla="*/ 61 h 559"/>
              <a:gd name="T14" fmla="*/ 326 w 558"/>
              <a:gd name="T15" fmla="*/ 106 h 559"/>
              <a:gd name="T16" fmla="*/ 113 w 558"/>
              <a:gd name="T17" fmla="*/ 0 h 559"/>
              <a:gd name="T18" fmla="*/ 97 w 558"/>
              <a:gd name="T19" fmla="*/ 224 h 559"/>
              <a:gd name="T20" fmla="*/ 61 w 558"/>
              <a:gd name="T21" fmla="*/ 270 h 559"/>
              <a:gd name="T22" fmla="*/ 106 w 558"/>
              <a:gd name="T23" fmla="*/ 235 h 559"/>
              <a:gd name="T24" fmla="*/ 7 w 558"/>
              <a:gd name="T25" fmla="*/ 334 h 559"/>
              <a:gd name="T26" fmla="*/ 0 w 558"/>
              <a:gd name="T27" fmla="*/ 552 h 559"/>
              <a:gd name="T28" fmla="*/ 219 w 558"/>
              <a:gd name="T29" fmla="*/ 559 h 559"/>
              <a:gd name="T30" fmla="*/ 226 w 558"/>
              <a:gd name="T31" fmla="*/ 341 h 559"/>
              <a:gd name="T32" fmla="*/ 120 w 558"/>
              <a:gd name="T33" fmla="*/ 334 h 559"/>
              <a:gd name="T34" fmla="*/ 155 w 558"/>
              <a:gd name="T35" fmla="*/ 270 h 559"/>
              <a:gd name="T36" fmla="*/ 165 w 558"/>
              <a:gd name="T37" fmla="*/ 270 h 559"/>
              <a:gd name="T38" fmla="*/ 129 w 558"/>
              <a:gd name="T39" fmla="*/ 224 h 559"/>
              <a:gd name="T40" fmla="*/ 326 w 558"/>
              <a:gd name="T41" fmla="*/ 120 h 559"/>
              <a:gd name="T42" fmla="*/ 290 w 558"/>
              <a:gd name="T43" fmla="*/ 165 h 559"/>
              <a:gd name="T44" fmla="*/ 300 w 558"/>
              <a:gd name="T45" fmla="*/ 165 h 559"/>
              <a:gd name="T46" fmla="*/ 438 w 558"/>
              <a:gd name="T47" fmla="*/ 217 h 559"/>
              <a:gd name="T48" fmla="*/ 403 w 558"/>
              <a:gd name="T49" fmla="*/ 288 h 559"/>
              <a:gd name="T50" fmla="*/ 393 w 558"/>
              <a:gd name="T51" fmla="*/ 298 h 559"/>
              <a:gd name="T52" fmla="*/ 333 w 558"/>
              <a:gd name="T53" fmla="*/ 446 h 559"/>
              <a:gd name="T54" fmla="*/ 558 w 558"/>
              <a:gd name="T55" fmla="*/ 446 h 559"/>
              <a:gd name="T56" fmla="*/ 212 w 558"/>
              <a:gd name="T57" fmla="*/ 545 h 559"/>
              <a:gd name="T58" fmla="*/ 14 w 558"/>
              <a:gd name="T59" fmla="*/ 348 h 559"/>
              <a:gd name="T60" fmla="*/ 212 w 558"/>
              <a:gd name="T61" fmla="*/ 545 h 559"/>
              <a:gd name="T62" fmla="*/ 113 w 558"/>
              <a:gd name="T63" fmla="*/ 211 h 559"/>
              <a:gd name="T64" fmla="*/ 14 w 558"/>
              <a:gd name="T65" fmla="*/ 113 h 559"/>
              <a:gd name="T66" fmla="*/ 212 w 558"/>
              <a:gd name="T67" fmla="*/ 113 h 559"/>
              <a:gd name="T68" fmla="*/ 445 w 558"/>
              <a:gd name="T69" fmla="*/ 21 h 559"/>
              <a:gd name="T70" fmla="*/ 445 w 558"/>
              <a:gd name="T71" fmla="*/ 204 h 559"/>
              <a:gd name="T72" fmla="*/ 445 w 558"/>
              <a:gd name="T73" fmla="*/ 21 h 559"/>
              <a:gd name="T74" fmla="*/ 347 w 558"/>
              <a:gd name="T75" fmla="*/ 446 h 559"/>
              <a:gd name="T76" fmla="*/ 544 w 558"/>
              <a:gd name="T77" fmla="*/ 446 h 5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58" h="559">
                <a:moveTo>
                  <a:pt x="461" y="335"/>
                </a:moveTo>
                <a:cubicBezTo>
                  <a:pt x="498" y="298"/>
                  <a:pt x="498" y="298"/>
                  <a:pt x="498" y="298"/>
                </a:cubicBezTo>
                <a:cubicBezTo>
                  <a:pt x="500" y="295"/>
                  <a:pt x="500" y="291"/>
                  <a:pt x="498" y="288"/>
                </a:cubicBezTo>
                <a:cubicBezTo>
                  <a:pt x="495" y="285"/>
                  <a:pt x="490" y="285"/>
                  <a:pt x="488" y="288"/>
                </a:cubicBezTo>
                <a:cubicBezTo>
                  <a:pt x="452" y="323"/>
                  <a:pt x="452" y="323"/>
                  <a:pt x="452" y="323"/>
                </a:cubicBezTo>
                <a:cubicBezTo>
                  <a:pt x="452" y="217"/>
                  <a:pt x="452" y="217"/>
                  <a:pt x="452" y="217"/>
                </a:cubicBezTo>
                <a:cubicBezTo>
                  <a:pt x="552" y="118"/>
                  <a:pt x="552" y="118"/>
                  <a:pt x="552" y="118"/>
                </a:cubicBezTo>
                <a:cubicBezTo>
                  <a:pt x="553" y="116"/>
                  <a:pt x="554" y="115"/>
                  <a:pt x="554" y="113"/>
                </a:cubicBezTo>
                <a:cubicBezTo>
                  <a:pt x="554" y="111"/>
                  <a:pt x="553" y="109"/>
                  <a:pt x="552" y="108"/>
                </a:cubicBezTo>
                <a:cubicBezTo>
                  <a:pt x="450" y="6"/>
                  <a:pt x="450" y="6"/>
                  <a:pt x="450" y="6"/>
                </a:cubicBezTo>
                <a:cubicBezTo>
                  <a:pt x="448" y="4"/>
                  <a:pt x="443" y="4"/>
                  <a:pt x="440" y="6"/>
                </a:cubicBezTo>
                <a:cubicBezTo>
                  <a:pt x="343" y="103"/>
                  <a:pt x="343" y="103"/>
                  <a:pt x="343" y="103"/>
                </a:cubicBezTo>
                <a:cubicBezTo>
                  <a:pt x="300" y="61"/>
                  <a:pt x="300" y="61"/>
                  <a:pt x="300" y="61"/>
                </a:cubicBezTo>
                <a:cubicBezTo>
                  <a:pt x="297" y="58"/>
                  <a:pt x="293" y="58"/>
                  <a:pt x="290" y="61"/>
                </a:cubicBezTo>
                <a:cubicBezTo>
                  <a:pt x="288" y="63"/>
                  <a:pt x="288" y="68"/>
                  <a:pt x="290" y="70"/>
                </a:cubicBezTo>
                <a:cubicBezTo>
                  <a:pt x="326" y="106"/>
                  <a:pt x="326" y="106"/>
                  <a:pt x="326" y="106"/>
                </a:cubicBezTo>
                <a:cubicBezTo>
                  <a:pt x="225" y="106"/>
                  <a:pt x="225" y="106"/>
                  <a:pt x="225" y="106"/>
                </a:cubicBezTo>
                <a:cubicBezTo>
                  <a:pt x="222" y="47"/>
                  <a:pt x="173" y="0"/>
                  <a:pt x="113" y="0"/>
                </a:cubicBezTo>
                <a:cubicBezTo>
                  <a:pt x="51" y="0"/>
                  <a:pt x="0" y="51"/>
                  <a:pt x="0" y="113"/>
                </a:cubicBezTo>
                <a:cubicBezTo>
                  <a:pt x="0" y="169"/>
                  <a:pt x="42" y="217"/>
                  <a:pt x="97" y="224"/>
                </a:cubicBezTo>
                <a:cubicBezTo>
                  <a:pt x="61" y="260"/>
                  <a:pt x="61" y="260"/>
                  <a:pt x="61" y="260"/>
                </a:cubicBezTo>
                <a:cubicBezTo>
                  <a:pt x="58" y="263"/>
                  <a:pt x="58" y="268"/>
                  <a:pt x="61" y="270"/>
                </a:cubicBezTo>
                <a:cubicBezTo>
                  <a:pt x="63" y="273"/>
                  <a:pt x="68" y="273"/>
                  <a:pt x="71" y="270"/>
                </a:cubicBezTo>
                <a:cubicBezTo>
                  <a:pt x="106" y="235"/>
                  <a:pt x="106" y="235"/>
                  <a:pt x="106" y="235"/>
                </a:cubicBezTo>
                <a:cubicBezTo>
                  <a:pt x="106" y="334"/>
                  <a:pt x="106" y="334"/>
                  <a:pt x="106" y="334"/>
                </a:cubicBezTo>
                <a:cubicBezTo>
                  <a:pt x="7" y="334"/>
                  <a:pt x="7" y="334"/>
                  <a:pt x="7" y="334"/>
                </a:cubicBezTo>
                <a:cubicBezTo>
                  <a:pt x="3" y="334"/>
                  <a:pt x="0" y="337"/>
                  <a:pt x="0" y="341"/>
                </a:cubicBezTo>
                <a:cubicBezTo>
                  <a:pt x="0" y="552"/>
                  <a:pt x="0" y="552"/>
                  <a:pt x="0" y="552"/>
                </a:cubicBezTo>
                <a:cubicBezTo>
                  <a:pt x="0" y="556"/>
                  <a:pt x="3" y="559"/>
                  <a:pt x="7" y="559"/>
                </a:cubicBezTo>
                <a:cubicBezTo>
                  <a:pt x="219" y="559"/>
                  <a:pt x="219" y="559"/>
                  <a:pt x="219" y="559"/>
                </a:cubicBezTo>
                <a:cubicBezTo>
                  <a:pt x="223" y="559"/>
                  <a:pt x="226" y="556"/>
                  <a:pt x="226" y="552"/>
                </a:cubicBezTo>
                <a:cubicBezTo>
                  <a:pt x="226" y="341"/>
                  <a:pt x="226" y="341"/>
                  <a:pt x="226" y="341"/>
                </a:cubicBezTo>
                <a:cubicBezTo>
                  <a:pt x="226" y="337"/>
                  <a:pt x="223" y="334"/>
                  <a:pt x="219" y="334"/>
                </a:cubicBezTo>
                <a:cubicBezTo>
                  <a:pt x="120" y="334"/>
                  <a:pt x="120" y="334"/>
                  <a:pt x="120" y="334"/>
                </a:cubicBezTo>
                <a:cubicBezTo>
                  <a:pt x="120" y="235"/>
                  <a:pt x="120" y="235"/>
                  <a:pt x="120" y="235"/>
                </a:cubicBezTo>
                <a:cubicBezTo>
                  <a:pt x="155" y="270"/>
                  <a:pt x="155" y="270"/>
                  <a:pt x="155" y="270"/>
                </a:cubicBezTo>
                <a:cubicBezTo>
                  <a:pt x="157" y="272"/>
                  <a:pt x="158" y="272"/>
                  <a:pt x="160" y="272"/>
                </a:cubicBezTo>
                <a:cubicBezTo>
                  <a:pt x="162" y="272"/>
                  <a:pt x="164" y="272"/>
                  <a:pt x="165" y="270"/>
                </a:cubicBezTo>
                <a:cubicBezTo>
                  <a:pt x="168" y="268"/>
                  <a:pt x="168" y="263"/>
                  <a:pt x="165" y="260"/>
                </a:cubicBezTo>
                <a:cubicBezTo>
                  <a:pt x="129" y="224"/>
                  <a:pt x="129" y="224"/>
                  <a:pt x="129" y="224"/>
                </a:cubicBezTo>
                <a:cubicBezTo>
                  <a:pt x="181" y="217"/>
                  <a:pt x="222" y="173"/>
                  <a:pt x="225" y="120"/>
                </a:cubicBezTo>
                <a:cubicBezTo>
                  <a:pt x="326" y="120"/>
                  <a:pt x="326" y="120"/>
                  <a:pt x="326" y="120"/>
                </a:cubicBezTo>
                <a:cubicBezTo>
                  <a:pt x="290" y="155"/>
                  <a:pt x="290" y="155"/>
                  <a:pt x="290" y="155"/>
                </a:cubicBezTo>
                <a:cubicBezTo>
                  <a:pt x="288" y="158"/>
                  <a:pt x="288" y="162"/>
                  <a:pt x="290" y="165"/>
                </a:cubicBezTo>
                <a:cubicBezTo>
                  <a:pt x="292" y="166"/>
                  <a:pt x="293" y="167"/>
                  <a:pt x="295" y="167"/>
                </a:cubicBezTo>
                <a:cubicBezTo>
                  <a:pt x="297" y="167"/>
                  <a:pt x="299" y="166"/>
                  <a:pt x="300" y="165"/>
                </a:cubicBezTo>
                <a:cubicBezTo>
                  <a:pt x="343" y="122"/>
                  <a:pt x="343" y="122"/>
                  <a:pt x="343" y="122"/>
                </a:cubicBezTo>
                <a:cubicBezTo>
                  <a:pt x="438" y="217"/>
                  <a:pt x="438" y="217"/>
                  <a:pt x="438" y="217"/>
                </a:cubicBezTo>
                <a:cubicBezTo>
                  <a:pt x="438" y="323"/>
                  <a:pt x="438" y="323"/>
                  <a:pt x="438" y="323"/>
                </a:cubicBezTo>
                <a:cubicBezTo>
                  <a:pt x="403" y="288"/>
                  <a:pt x="403" y="288"/>
                  <a:pt x="403" y="288"/>
                </a:cubicBezTo>
                <a:cubicBezTo>
                  <a:pt x="400" y="285"/>
                  <a:pt x="396" y="285"/>
                  <a:pt x="393" y="288"/>
                </a:cubicBezTo>
                <a:cubicBezTo>
                  <a:pt x="390" y="291"/>
                  <a:pt x="390" y="295"/>
                  <a:pt x="393" y="298"/>
                </a:cubicBezTo>
                <a:cubicBezTo>
                  <a:pt x="430" y="335"/>
                  <a:pt x="430" y="335"/>
                  <a:pt x="430" y="335"/>
                </a:cubicBezTo>
                <a:cubicBezTo>
                  <a:pt x="375" y="342"/>
                  <a:pt x="333" y="389"/>
                  <a:pt x="333" y="446"/>
                </a:cubicBezTo>
                <a:cubicBezTo>
                  <a:pt x="333" y="508"/>
                  <a:pt x="383" y="559"/>
                  <a:pt x="445" y="559"/>
                </a:cubicBezTo>
                <a:cubicBezTo>
                  <a:pt x="508" y="559"/>
                  <a:pt x="558" y="508"/>
                  <a:pt x="558" y="446"/>
                </a:cubicBezTo>
                <a:cubicBezTo>
                  <a:pt x="558" y="389"/>
                  <a:pt x="516" y="342"/>
                  <a:pt x="461" y="335"/>
                </a:cubicBezTo>
                <a:close/>
                <a:moveTo>
                  <a:pt x="212" y="545"/>
                </a:moveTo>
                <a:cubicBezTo>
                  <a:pt x="14" y="545"/>
                  <a:pt x="14" y="545"/>
                  <a:pt x="14" y="545"/>
                </a:cubicBezTo>
                <a:cubicBezTo>
                  <a:pt x="14" y="348"/>
                  <a:pt x="14" y="348"/>
                  <a:pt x="14" y="348"/>
                </a:cubicBezTo>
                <a:cubicBezTo>
                  <a:pt x="212" y="348"/>
                  <a:pt x="212" y="348"/>
                  <a:pt x="212" y="348"/>
                </a:cubicBezTo>
                <a:lnTo>
                  <a:pt x="212" y="545"/>
                </a:lnTo>
                <a:close/>
                <a:moveTo>
                  <a:pt x="116" y="211"/>
                </a:moveTo>
                <a:cubicBezTo>
                  <a:pt x="115" y="211"/>
                  <a:pt x="114" y="211"/>
                  <a:pt x="113" y="211"/>
                </a:cubicBezTo>
                <a:cubicBezTo>
                  <a:pt x="112" y="211"/>
                  <a:pt x="111" y="211"/>
                  <a:pt x="110" y="211"/>
                </a:cubicBezTo>
                <a:cubicBezTo>
                  <a:pt x="57" y="210"/>
                  <a:pt x="14" y="166"/>
                  <a:pt x="14" y="113"/>
                </a:cubicBezTo>
                <a:cubicBezTo>
                  <a:pt x="14" y="58"/>
                  <a:pt x="58" y="14"/>
                  <a:pt x="113" y="14"/>
                </a:cubicBezTo>
                <a:cubicBezTo>
                  <a:pt x="167" y="14"/>
                  <a:pt x="212" y="58"/>
                  <a:pt x="212" y="113"/>
                </a:cubicBezTo>
                <a:cubicBezTo>
                  <a:pt x="212" y="166"/>
                  <a:pt x="169" y="210"/>
                  <a:pt x="116" y="211"/>
                </a:cubicBezTo>
                <a:close/>
                <a:moveTo>
                  <a:pt x="445" y="21"/>
                </a:moveTo>
                <a:cubicBezTo>
                  <a:pt x="537" y="113"/>
                  <a:pt x="537" y="113"/>
                  <a:pt x="537" y="113"/>
                </a:cubicBezTo>
                <a:cubicBezTo>
                  <a:pt x="445" y="204"/>
                  <a:pt x="445" y="204"/>
                  <a:pt x="445" y="204"/>
                </a:cubicBezTo>
                <a:cubicBezTo>
                  <a:pt x="354" y="113"/>
                  <a:pt x="354" y="113"/>
                  <a:pt x="354" y="113"/>
                </a:cubicBezTo>
                <a:lnTo>
                  <a:pt x="445" y="21"/>
                </a:lnTo>
                <a:close/>
                <a:moveTo>
                  <a:pt x="445" y="545"/>
                </a:moveTo>
                <a:cubicBezTo>
                  <a:pt x="391" y="545"/>
                  <a:pt x="347" y="501"/>
                  <a:pt x="347" y="446"/>
                </a:cubicBezTo>
                <a:cubicBezTo>
                  <a:pt x="347" y="392"/>
                  <a:pt x="391" y="348"/>
                  <a:pt x="445" y="348"/>
                </a:cubicBezTo>
                <a:cubicBezTo>
                  <a:pt x="500" y="348"/>
                  <a:pt x="544" y="392"/>
                  <a:pt x="544" y="446"/>
                </a:cubicBezTo>
                <a:cubicBezTo>
                  <a:pt x="544" y="501"/>
                  <a:pt x="500" y="545"/>
                  <a:pt x="445" y="54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AAE1EC8-AA83-44BC-AF60-AF0750E938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5395" y="4822296"/>
            <a:ext cx="7016101" cy="1965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412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41D913D-D292-4731-8557-1EE61E27AE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2520"/>
            <a:ext cx="10781731" cy="956793"/>
          </a:xfrm>
        </p:spPr>
        <p:txBody>
          <a:bodyPr>
            <a:noAutofit/>
          </a:bodyPr>
          <a:lstStyle/>
          <a:p>
            <a:pPr algn="ctr"/>
            <a:r>
              <a:rPr lang="sr-Cyrl-RS" sz="3600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ЗАКЉУЧАК</a:t>
            </a:r>
            <a:endParaRPr lang="en-GB" sz="3600" dirty="0">
              <a:solidFill>
                <a:schemeClr val="bg2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3659053-69BC-4CD2-ACDF-5103C7D2379E}"/>
              </a:ext>
            </a:extLst>
          </p:cNvPr>
          <p:cNvSpPr/>
          <p:nvPr/>
        </p:nvSpPr>
        <p:spPr>
          <a:xfrm>
            <a:off x="4897460" y="933594"/>
            <a:ext cx="1198540" cy="45719"/>
          </a:xfrm>
          <a:prstGeom prst="rect">
            <a:avLst/>
          </a:prstGeom>
          <a:solidFill>
            <a:srgbClr val="9595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128">
            <a:extLst>
              <a:ext uri="{FF2B5EF4-FFF2-40B4-BE49-F238E27FC236}">
                <a16:creationId xmlns:a16="http://schemas.microsoft.com/office/drawing/2014/main" id="{6B0DE58D-D65F-417A-8D63-5D49C30C51E3}"/>
              </a:ext>
            </a:extLst>
          </p:cNvPr>
          <p:cNvSpPr>
            <a:spLocks noEditPoints="1"/>
          </p:cNvSpPr>
          <p:nvPr/>
        </p:nvSpPr>
        <p:spPr bwMode="auto">
          <a:xfrm>
            <a:off x="698453" y="1584816"/>
            <a:ext cx="459188" cy="571302"/>
          </a:xfrm>
          <a:custGeom>
            <a:avLst/>
            <a:gdLst>
              <a:gd name="T0" fmla="*/ 438 w 445"/>
              <a:gd name="T1" fmla="*/ 57 h 553"/>
              <a:gd name="T2" fmla="*/ 388 w 445"/>
              <a:gd name="T3" fmla="*/ 57 h 553"/>
              <a:gd name="T4" fmla="*/ 388 w 445"/>
              <a:gd name="T5" fmla="*/ 7 h 553"/>
              <a:gd name="T6" fmla="*/ 381 w 445"/>
              <a:gd name="T7" fmla="*/ 0 h 553"/>
              <a:gd name="T8" fmla="*/ 7 w 445"/>
              <a:gd name="T9" fmla="*/ 0 h 553"/>
              <a:gd name="T10" fmla="*/ 0 w 445"/>
              <a:gd name="T11" fmla="*/ 7 h 553"/>
              <a:gd name="T12" fmla="*/ 0 w 445"/>
              <a:gd name="T13" fmla="*/ 489 h 553"/>
              <a:gd name="T14" fmla="*/ 7 w 445"/>
              <a:gd name="T15" fmla="*/ 496 h 553"/>
              <a:gd name="T16" fmla="*/ 57 w 445"/>
              <a:gd name="T17" fmla="*/ 496 h 553"/>
              <a:gd name="T18" fmla="*/ 57 w 445"/>
              <a:gd name="T19" fmla="*/ 546 h 553"/>
              <a:gd name="T20" fmla="*/ 64 w 445"/>
              <a:gd name="T21" fmla="*/ 553 h 553"/>
              <a:gd name="T22" fmla="*/ 438 w 445"/>
              <a:gd name="T23" fmla="*/ 553 h 553"/>
              <a:gd name="T24" fmla="*/ 445 w 445"/>
              <a:gd name="T25" fmla="*/ 546 h 553"/>
              <a:gd name="T26" fmla="*/ 445 w 445"/>
              <a:gd name="T27" fmla="*/ 64 h 553"/>
              <a:gd name="T28" fmla="*/ 438 w 445"/>
              <a:gd name="T29" fmla="*/ 57 h 553"/>
              <a:gd name="T30" fmla="*/ 14 w 445"/>
              <a:gd name="T31" fmla="*/ 14 h 553"/>
              <a:gd name="T32" fmla="*/ 374 w 445"/>
              <a:gd name="T33" fmla="*/ 14 h 553"/>
              <a:gd name="T34" fmla="*/ 374 w 445"/>
              <a:gd name="T35" fmla="*/ 482 h 553"/>
              <a:gd name="T36" fmla="*/ 14 w 445"/>
              <a:gd name="T37" fmla="*/ 482 h 553"/>
              <a:gd name="T38" fmla="*/ 14 w 445"/>
              <a:gd name="T39" fmla="*/ 14 h 553"/>
              <a:gd name="T40" fmla="*/ 431 w 445"/>
              <a:gd name="T41" fmla="*/ 539 h 553"/>
              <a:gd name="T42" fmla="*/ 71 w 445"/>
              <a:gd name="T43" fmla="*/ 539 h 553"/>
              <a:gd name="T44" fmla="*/ 71 w 445"/>
              <a:gd name="T45" fmla="*/ 496 h 553"/>
              <a:gd name="T46" fmla="*/ 381 w 445"/>
              <a:gd name="T47" fmla="*/ 496 h 553"/>
              <a:gd name="T48" fmla="*/ 388 w 445"/>
              <a:gd name="T49" fmla="*/ 489 h 553"/>
              <a:gd name="T50" fmla="*/ 388 w 445"/>
              <a:gd name="T51" fmla="*/ 71 h 553"/>
              <a:gd name="T52" fmla="*/ 431 w 445"/>
              <a:gd name="T53" fmla="*/ 71 h 553"/>
              <a:gd name="T54" fmla="*/ 431 w 445"/>
              <a:gd name="T55" fmla="*/ 539 h 553"/>
              <a:gd name="T56" fmla="*/ 75 w 445"/>
              <a:gd name="T57" fmla="*/ 335 h 553"/>
              <a:gd name="T58" fmla="*/ 75 w 445"/>
              <a:gd name="T59" fmla="*/ 325 h 553"/>
              <a:gd name="T60" fmla="*/ 145 w 445"/>
              <a:gd name="T61" fmla="*/ 256 h 553"/>
              <a:gd name="T62" fmla="*/ 155 w 445"/>
              <a:gd name="T63" fmla="*/ 256 h 553"/>
              <a:gd name="T64" fmla="*/ 194 w 445"/>
              <a:gd name="T65" fmla="*/ 295 h 553"/>
              <a:gd name="T66" fmla="*/ 288 w 445"/>
              <a:gd name="T67" fmla="*/ 201 h 553"/>
              <a:gd name="T68" fmla="*/ 210 w 445"/>
              <a:gd name="T69" fmla="*/ 201 h 553"/>
              <a:gd name="T70" fmla="*/ 203 w 445"/>
              <a:gd name="T71" fmla="*/ 194 h 553"/>
              <a:gd name="T72" fmla="*/ 210 w 445"/>
              <a:gd name="T73" fmla="*/ 187 h 553"/>
              <a:gd name="T74" fmla="*/ 304 w 445"/>
              <a:gd name="T75" fmla="*/ 187 h 553"/>
              <a:gd name="T76" fmla="*/ 310 w 445"/>
              <a:gd name="T77" fmla="*/ 189 h 553"/>
              <a:gd name="T78" fmla="*/ 310 w 445"/>
              <a:gd name="T79" fmla="*/ 189 h 553"/>
              <a:gd name="T80" fmla="*/ 311 w 445"/>
              <a:gd name="T81" fmla="*/ 196 h 553"/>
              <a:gd name="T82" fmla="*/ 311 w 445"/>
              <a:gd name="T83" fmla="*/ 288 h 553"/>
              <a:gd name="T84" fmla="*/ 304 w 445"/>
              <a:gd name="T85" fmla="*/ 295 h 553"/>
              <a:gd name="T86" fmla="*/ 297 w 445"/>
              <a:gd name="T87" fmla="*/ 288 h 553"/>
              <a:gd name="T88" fmla="*/ 297 w 445"/>
              <a:gd name="T89" fmla="*/ 211 h 553"/>
              <a:gd name="T90" fmla="*/ 199 w 445"/>
              <a:gd name="T91" fmla="*/ 310 h 553"/>
              <a:gd name="T92" fmla="*/ 189 w 445"/>
              <a:gd name="T93" fmla="*/ 310 h 553"/>
              <a:gd name="T94" fmla="*/ 150 w 445"/>
              <a:gd name="T95" fmla="*/ 271 h 553"/>
              <a:gd name="T96" fmla="*/ 85 w 445"/>
              <a:gd name="T97" fmla="*/ 335 h 553"/>
              <a:gd name="T98" fmla="*/ 80 w 445"/>
              <a:gd name="T99" fmla="*/ 337 h 553"/>
              <a:gd name="T100" fmla="*/ 75 w 445"/>
              <a:gd name="T101" fmla="*/ 335 h 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45" h="553">
                <a:moveTo>
                  <a:pt x="438" y="57"/>
                </a:moveTo>
                <a:cubicBezTo>
                  <a:pt x="388" y="57"/>
                  <a:pt x="388" y="57"/>
                  <a:pt x="388" y="57"/>
                </a:cubicBezTo>
                <a:cubicBezTo>
                  <a:pt x="388" y="7"/>
                  <a:pt x="388" y="7"/>
                  <a:pt x="388" y="7"/>
                </a:cubicBezTo>
                <a:cubicBezTo>
                  <a:pt x="388" y="3"/>
                  <a:pt x="385" y="0"/>
                  <a:pt x="381" y="0"/>
                </a:cubicBez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489"/>
                  <a:pt x="0" y="489"/>
                  <a:pt x="0" y="489"/>
                </a:cubicBezTo>
                <a:cubicBezTo>
                  <a:pt x="0" y="493"/>
                  <a:pt x="3" y="496"/>
                  <a:pt x="7" y="496"/>
                </a:cubicBezTo>
                <a:cubicBezTo>
                  <a:pt x="57" y="496"/>
                  <a:pt x="57" y="496"/>
                  <a:pt x="57" y="496"/>
                </a:cubicBezTo>
                <a:cubicBezTo>
                  <a:pt x="57" y="546"/>
                  <a:pt x="57" y="546"/>
                  <a:pt x="57" y="546"/>
                </a:cubicBezTo>
                <a:cubicBezTo>
                  <a:pt x="57" y="550"/>
                  <a:pt x="60" y="553"/>
                  <a:pt x="64" y="553"/>
                </a:cubicBezTo>
                <a:cubicBezTo>
                  <a:pt x="438" y="553"/>
                  <a:pt x="438" y="553"/>
                  <a:pt x="438" y="553"/>
                </a:cubicBezTo>
                <a:cubicBezTo>
                  <a:pt x="442" y="553"/>
                  <a:pt x="445" y="550"/>
                  <a:pt x="445" y="546"/>
                </a:cubicBezTo>
                <a:cubicBezTo>
                  <a:pt x="445" y="64"/>
                  <a:pt x="445" y="64"/>
                  <a:pt x="445" y="64"/>
                </a:cubicBezTo>
                <a:cubicBezTo>
                  <a:pt x="445" y="60"/>
                  <a:pt x="442" y="57"/>
                  <a:pt x="438" y="57"/>
                </a:cubicBezTo>
                <a:close/>
                <a:moveTo>
                  <a:pt x="14" y="14"/>
                </a:moveTo>
                <a:cubicBezTo>
                  <a:pt x="374" y="14"/>
                  <a:pt x="374" y="14"/>
                  <a:pt x="374" y="14"/>
                </a:cubicBezTo>
                <a:cubicBezTo>
                  <a:pt x="374" y="482"/>
                  <a:pt x="374" y="482"/>
                  <a:pt x="374" y="482"/>
                </a:cubicBezTo>
                <a:cubicBezTo>
                  <a:pt x="14" y="482"/>
                  <a:pt x="14" y="482"/>
                  <a:pt x="14" y="482"/>
                </a:cubicBezTo>
                <a:lnTo>
                  <a:pt x="14" y="14"/>
                </a:lnTo>
                <a:close/>
                <a:moveTo>
                  <a:pt x="431" y="539"/>
                </a:moveTo>
                <a:cubicBezTo>
                  <a:pt x="71" y="539"/>
                  <a:pt x="71" y="539"/>
                  <a:pt x="71" y="539"/>
                </a:cubicBezTo>
                <a:cubicBezTo>
                  <a:pt x="71" y="496"/>
                  <a:pt x="71" y="496"/>
                  <a:pt x="71" y="496"/>
                </a:cubicBezTo>
                <a:cubicBezTo>
                  <a:pt x="381" y="496"/>
                  <a:pt x="381" y="496"/>
                  <a:pt x="381" y="496"/>
                </a:cubicBezTo>
                <a:cubicBezTo>
                  <a:pt x="385" y="496"/>
                  <a:pt x="388" y="493"/>
                  <a:pt x="388" y="489"/>
                </a:cubicBezTo>
                <a:cubicBezTo>
                  <a:pt x="388" y="71"/>
                  <a:pt x="388" y="71"/>
                  <a:pt x="388" y="71"/>
                </a:cubicBezTo>
                <a:cubicBezTo>
                  <a:pt x="431" y="71"/>
                  <a:pt x="431" y="71"/>
                  <a:pt x="431" y="71"/>
                </a:cubicBezTo>
                <a:lnTo>
                  <a:pt x="431" y="539"/>
                </a:lnTo>
                <a:close/>
                <a:moveTo>
                  <a:pt x="75" y="335"/>
                </a:moveTo>
                <a:cubicBezTo>
                  <a:pt x="72" y="333"/>
                  <a:pt x="72" y="328"/>
                  <a:pt x="75" y="325"/>
                </a:cubicBezTo>
                <a:cubicBezTo>
                  <a:pt x="145" y="256"/>
                  <a:pt x="145" y="256"/>
                  <a:pt x="145" y="256"/>
                </a:cubicBezTo>
                <a:cubicBezTo>
                  <a:pt x="147" y="253"/>
                  <a:pt x="152" y="253"/>
                  <a:pt x="155" y="256"/>
                </a:cubicBezTo>
                <a:cubicBezTo>
                  <a:pt x="194" y="295"/>
                  <a:pt x="194" y="295"/>
                  <a:pt x="194" y="295"/>
                </a:cubicBezTo>
                <a:cubicBezTo>
                  <a:pt x="288" y="201"/>
                  <a:pt x="288" y="201"/>
                  <a:pt x="288" y="201"/>
                </a:cubicBezTo>
                <a:cubicBezTo>
                  <a:pt x="210" y="201"/>
                  <a:pt x="210" y="201"/>
                  <a:pt x="210" y="201"/>
                </a:cubicBezTo>
                <a:cubicBezTo>
                  <a:pt x="207" y="201"/>
                  <a:pt x="203" y="198"/>
                  <a:pt x="203" y="194"/>
                </a:cubicBezTo>
                <a:cubicBezTo>
                  <a:pt x="203" y="190"/>
                  <a:pt x="207" y="187"/>
                  <a:pt x="210" y="187"/>
                </a:cubicBezTo>
                <a:cubicBezTo>
                  <a:pt x="304" y="187"/>
                  <a:pt x="304" y="187"/>
                  <a:pt x="304" y="187"/>
                </a:cubicBezTo>
                <a:cubicBezTo>
                  <a:pt x="306" y="187"/>
                  <a:pt x="308" y="188"/>
                  <a:pt x="310" y="189"/>
                </a:cubicBezTo>
                <a:cubicBezTo>
                  <a:pt x="310" y="189"/>
                  <a:pt x="310" y="189"/>
                  <a:pt x="310" y="189"/>
                </a:cubicBezTo>
                <a:cubicBezTo>
                  <a:pt x="312" y="191"/>
                  <a:pt x="312" y="194"/>
                  <a:pt x="311" y="196"/>
                </a:cubicBezTo>
                <a:cubicBezTo>
                  <a:pt x="311" y="288"/>
                  <a:pt x="311" y="288"/>
                  <a:pt x="311" y="288"/>
                </a:cubicBezTo>
                <a:cubicBezTo>
                  <a:pt x="311" y="292"/>
                  <a:pt x="308" y="295"/>
                  <a:pt x="304" y="295"/>
                </a:cubicBezTo>
                <a:cubicBezTo>
                  <a:pt x="301" y="295"/>
                  <a:pt x="297" y="292"/>
                  <a:pt x="297" y="288"/>
                </a:cubicBezTo>
                <a:cubicBezTo>
                  <a:pt x="297" y="211"/>
                  <a:pt x="297" y="211"/>
                  <a:pt x="297" y="211"/>
                </a:cubicBezTo>
                <a:cubicBezTo>
                  <a:pt x="199" y="310"/>
                  <a:pt x="199" y="310"/>
                  <a:pt x="199" y="310"/>
                </a:cubicBezTo>
                <a:cubicBezTo>
                  <a:pt x="196" y="313"/>
                  <a:pt x="192" y="313"/>
                  <a:pt x="189" y="310"/>
                </a:cubicBezTo>
                <a:cubicBezTo>
                  <a:pt x="150" y="271"/>
                  <a:pt x="150" y="271"/>
                  <a:pt x="150" y="271"/>
                </a:cubicBezTo>
                <a:cubicBezTo>
                  <a:pt x="85" y="335"/>
                  <a:pt x="85" y="335"/>
                  <a:pt x="85" y="335"/>
                </a:cubicBezTo>
                <a:cubicBezTo>
                  <a:pt x="84" y="337"/>
                  <a:pt x="82" y="337"/>
                  <a:pt x="80" y="337"/>
                </a:cubicBezTo>
                <a:cubicBezTo>
                  <a:pt x="78" y="337"/>
                  <a:pt x="76" y="337"/>
                  <a:pt x="75" y="33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120">
            <a:extLst>
              <a:ext uri="{FF2B5EF4-FFF2-40B4-BE49-F238E27FC236}">
                <a16:creationId xmlns:a16="http://schemas.microsoft.com/office/drawing/2014/main" id="{C2C4D91B-810D-421F-B160-05BDAE79D080}"/>
              </a:ext>
            </a:extLst>
          </p:cNvPr>
          <p:cNvSpPr>
            <a:spLocks noEditPoints="1"/>
          </p:cNvSpPr>
          <p:nvPr/>
        </p:nvSpPr>
        <p:spPr bwMode="auto">
          <a:xfrm>
            <a:off x="627104" y="4168414"/>
            <a:ext cx="575505" cy="577265"/>
          </a:xfrm>
          <a:custGeom>
            <a:avLst/>
            <a:gdLst>
              <a:gd name="T0" fmla="*/ 498 w 558"/>
              <a:gd name="T1" fmla="*/ 298 h 559"/>
              <a:gd name="T2" fmla="*/ 488 w 558"/>
              <a:gd name="T3" fmla="*/ 288 h 559"/>
              <a:gd name="T4" fmla="*/ 452 w 558"/>
              <a:gd name="T5" fmla="*/ 217 h 559"/>
              <a:gd name="T6" fmla="*/ 554 w 558"/>
              <a:gd name="T7" fmla="*/ 113 h 559"/>
              <a:gd name="T8" fmla="*/ 450 w 558"/>
              <a:gd name="T9" fmla="*/ 6 h 559"/>
              <a:gd name="T10" fmla="*/ 343 w 558"/>
              <a:gd name="T11" fmla="*/ 103 h 559"/>
              <a:gd name="T12" fmla="*/ 290 w 558"/>
              <a:gd name="T13" fmla="*/ 61 h 559"/>
              <a:gd name="T14" fmla="*/ 326 w 558"/>
              <a:gd name="T15" fmla="*/ 106 h 559"/>
              <a:gd name="T16" fmla="*/ 113 w 558"/>
              <a:gd name="T17" fmla="*/ 0 h 559"/>
              <a:gd name="T18" fmla="*/ 97 w 558"/>
              <a:gd name="T19" fmla="*/ 224 h 559"/>
              <a:gd name="T20" fmla="*/ 61 w 558"/>
              <a:gd name="T21" fmla="*/ 270 h 559"/>
              <a:gd name="T22" fmla="*/ 106 w 558"/>
              <a:gd name="T23" fmla="*/ 235 h 559"/>
              <a:gd name="T24" fmla="*/ 7 w 558"/>
              <a:gd name="T25" fmla="*/ 334 h 559"/>
              <a:gd name="T26" fmla="*/ 0 w 558"/>
              <a:gd name="T27" fmla="*/ 552 h 559"/>
              <a:gd name="T28" fmla="*/ 219 w 558"/>
              <a:gd name="T29" fmla="*/ 559 h 559"/>
              <a:gd name="T30" fmla="*/ 226 w 558"/>
              <a:gd name="T31" fmla="*/ 341 h 559"/>
              <a:gd name="T32" fmla="*/ 120 w 558"/>
              <a:gd name="T33" fmla="*/ 334 h 559"/>
              <a:gd name="T34" fmla="*/ 155 w 558"/>
              <a:gd name="T35" fmla="*/ 270 h 559"/>
              <a:gd name="T36" fmla="*/ 165 w 558"/>
              <a:gd name="T37" fmla="*/ 270 h 559"/>
              <a:gd name="T38" fmla="*/ 129 w 558"/>
              <a:gd name="T39" fmla="*/ 224 h 559"/>
              <a:gd name="T40" fmla="*/ 326 w 558"/>
              <a:gd name="T41" fmla="*/ 120 h 559"/>
              <a:gd name="T42" fmla="*/ 290 w 558"/>
              <a:gd name="T43" fmla="*/ 165 h 559"/>
              <a:gd name="T44" fmla="*/ 300 w 558"/>
              <a:gd name="T45" fmla="*/ 165 h 559"/>
              <a:gd name="T46" fmla="*/ 438 w 558"/>
              <a:gd name="T47" fmla="*/ 217 h 559"/>
              <a:gd name="T48" fmla="*/ 403 w 558"/>
              <a:gd name="T49" fmla="*/ 288 h 559"/>
              <a:gd name="T50" fmla="*/ 393 w 558"/>
              <a:gd name="T51" fmla="*/ 298 h 559"/>
              <a:gd name="T52" fmla="*/ 333 w 558"/>
              <a:gd name="T53" fmla="*/ 446 h 559"/>
              <a:gd name="T54" fmla="*/ 558 w 558"/>
              <a:gd name="T55" fmla="*/ 446 h 559"/>
              <a:gd name="T56" fmla="*/ 212 w 558"/>
              <a:gd name="T57" fmla="*/ 545 h 559"/>
              <a:gd name="T58" fmla="*/ 14 w 558"/>
              <a:gd name="T59" fmla="*/ 348 h 559"/>
              <a:gd name="T60" fmla="*/ 212 w 558"/>
              <a:gd name="T61" fmla="*/ 545 h 559"/>
              <a:gd name="T62" fmla="*/ 113 w 558"/>
              <a:gd name="T63" fmla="*/ 211 h 559"/>
              <a:gd name="T64" fmla="*/ 14 w 558"/>
              <a:gd name="T65" fmla="*/ 113 h 559"/>
              <a:gd name="T66" fmla="*/ 212 w 558"/>
              <a:gd name="T67" fmla="*/ 113 h 559"/>
              <a:gd name="T68" fmla="*/ 445 w 558"/>
              <a:gd name="T69" fmla="*/ 21 h 559"/>
              <a:gd name="T70" fmla="*/ 445 w 558"/>
              <a:gd name="T71" fmla="*/ 204 h 559"/>
              <a:gd name="T72" fmla="*/ 445 w 558"/>
              <a:gd name="T73" fmla="*/ 21 h 559"/>
              <a:gd name="T74" fmla="*/ 347 w 558"/>
              <a:gd name="T75" fmla="*/ 446 h 559"/>
              <a:gd name="T76" fmla="*/ 544 w 558"/>
              <a:gd name="T77" fmla="*/ 446 h 5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58" h="559">
                <a:moveTo>
                  <a:pt x="461" y="335"/>
                </a:moveTo>
                <a:cubicBezTo>
                  <a:pt x="498" y="298"/>
                  <a:pt x="498" y="298"/>
                  <a:pt x="498" y="298"/>
                </a:cubicBezTo>
                <a:cubicBezTo>
                  <a:pt x="500" y="295"/>
                  <a:pt x="500" y="291"/>
                  <a:pt x="498" y="288"/>
                </a:cubicBezTo>
                <a:cubicBezTo>
                  <a:pt x="495" y="285"/>
                  <a:pt x="490" y="285"/>
                  <a:pt x="488" y="288"/>
                </a:cubicBezTo>
                <a:cubicBezTo>
                  <a:pt x="452" y="323"/>
                  <a:pt x="452" y="323"/>
                  <a:pt x="452" y="323"/>
                </a:cubicBezTo>
                <a:cubicBezTo>
                  <a:pt x="452" y="217"/>
                  <a:pt x="452" y="217"/>
                  <a:pt x="452" y="217"/>
                </a:cubicBezTo>
                <a:cubicBezTo>
                  <a:pt x="552" y="118"/>
                  <a:pt x="552" y="118"/>
                  <a:pt x="552" y="118"/>
                </a:cubicBezTo>
                <a:cubicBezTo>
                  <a:pt x="553" y="116"/>
                  <a:pt x="554" y="115"/>
                  <a:pt x="554" y="113"/>
                </a:cubicBezTo>
                <a:cubicBezTo>
                  <a:pt x="554" y="111"/>
                  <a:pt x="553" y="109"/>
                  <a:pt x="552" y="108"/>
                </a:cubicBezTo>
                <a:cubicBezTo>
                  <a:pt x="450" y="6"/>
                  <a:pt x="450" y="6"/>
                  <a:pt x="450" y="6"/>
                </a:cubicBezTo>
                <a:cubicBezTo>
                  <a:pt x="448" y="4"/>
                  <a:pt x="443" y="4"/>
                  <a:pt x="440" y="6"/>
                </a:cubicBezTo>
                <a:cubicBezTo>
                  <a:pt x="343" y="103"/>
                  <a:pt x="343" y="103"/>
                  <a:pt x="343" y="103"/>
                </a:cubicBezTo>
                <a:cubicBezTo>
                  <a:pt x="300" y="61"/>
                  <a:pt x="300" y="61"/>
                  <a:pt x="300" y="61"/>
                </a:cubicBezTo>
                <a:cubicBezTo>
                  <a:pt x="297" y="58"/>
                  <a:pt x="293" y="58"/>
                  <a:pt x="290" y="61"/>
                </a:cubicBezTo>
                <a:cubicBezTo>
                  <a:pt x="288" y="63"/>
                  <a:pt x="288" y="68"/>
                  <a:pt x="290" y="70"/>
                </a:cubicBezTo>
                <a:cubicBezTo>
                  <a:pt x="326" y="106"/>
                  <a:pt x="326" y="106"/>
                  <a:pt x="326" y="106"/>
                </a:cubicBezTo>
                <a:cubicBezTo>
                  <a:pt x="225" y="106"/>
                  <a:pt x="225" y="106"/>
                  <a:pt x="225" y="106"/>
                </a:cubicBezTo>
                <a:cubicBezTo>
                  <a:pt x="222" y="47"/>
                  <a:pt x="173" y="0"/>
                  <a:pt x="113" y="0"/>
                </a:cubicBezTo>
                <a:cubicBezTo>
                  <a:pt x="51" y="0"/>
                  <a:pt x="0" y="51"/>
                  <a:pt x="0" y="113"/>
                </a:cubicBezTo>
                <a:cubicBezTo>
                  <a:pt x="0" y="169"/>
                  <a:pt x="42" y="217"/>
                  <a:pt x="97" y="224"/>
                </a:cubicBezTo>
                <a:cubicBezTo>
                  <a:pt x="61" y="260"/>
                  <a:pt x="61" y="260"/>
                  <a:pt x="61" y="260"/>
                </a:cubicBezTo>
                <a:cubicBezTo>
                  <a:pt x="58" y="263"/>
                  <a:pt x="58" y="268"/>
                  <a:pt x="61" y="270"/>
                </a:cubicBezTo>
                <a:cubicBezTo>
                  <a:pt x="63" y="273"/>
                  <a:pt x="68" y="273"/>
                  <a:pt x="71" y="270"/>
                </a:cubicBezTo>
                <a:cubicBezTo>
                  <a:pt x="106" y="235"/>
                  <a:pt x="106" y="235"/>
                  <a:pt x="106" y="235"/>
                </a:cubicBezTo>
                <a:cubicBezTo>
                  <a:pt x="106" y="334"/>
                  <a:pt x="106" y="334"/>
                  <a:pt x="106" y="334"/>
                </a:cubicBezTo>
                <a:cubicBezTo>
                  <a:pt x="7" y="334"/>
                  <a:pt x="7" y="334"/>
                  <a:pt x="7" y="334"/>
                </a:cubicBezTo>
                <a:cubicBezTo>
                  <a:pt x="3" y="334"/>
                  <a:pt x="0" y="337"/>
                  <a:pt x="0" y="341"/>
                </a:cubicBezTo>
                <a:cubicBezTo>
                  <a:pt x="0" y="552"/>
                  <a:pt x="0" y="552"/>
                  <a:pt x="0" y="552"/>
                </a:cubicBezTo>
                <a:cubicBezTo>
                  <a:pt x="0" y="556"/>
                  <a:pt x="3" y="559"/>
                  <a:pt x="7" y="559"/>
                </a:cubicBezTo>
                <a:cubicBezTo>
                  <a:pt x="219" y="559"/>
                  <a:pt x="219" y="559"/>
                  <a:pt x="219" y="559"/>
                </a:cubicBezTo>
                <a:cubicBezTo>
                  <a:pt x="223" y="559"/>
                  <a:pt x="226" y="556"/>
                  <a:pt x="226" y="552"/>
                </a:cubicBezTo>
                <a:cubicBezTo>
                  <a:pt x="226" y="341"/>
                  <a:pt x="226" y="341"/>
                  <a:pt x="226" y="341"/>
                </a:cubicBezTo>
                <a:cubicBezTo>
                  <a:pt x="226" y="337"/>
                  <a:pt x="223" y="334"/>
                  <a:pt x="219" y="334"/>
                </a:cubicBezTo>
                <a:cubicBezTo>
                  <a:pt x="120" y="334"/>
                  <a:pt x="120" y="334"/>
                  <a:pt x="120" y="334"/>
                </a:cubicBezTo>
                <a:cubicBezTo>
                  <a:pt x="120" y="235"/>
                  <a:pt x="120" y="235"/>
                  <a:pt x="120" y="235"/>
                </a:cubicBezTo>
                <a:cubicBezTo>
                  <a:pt x="155" y="270"/>
                  <a:pt x="155" y="270"/>
                  <a:pt x="155" y="270"/>
                </a:cubicBezTo>
                <a:cubicBezTo>
                  <a:pt x="157" y="272"/>
                  <a:pt x="158" y="272"/>
                  <a:pt x="160" y="272"/>
                </a:cubicBezTo>
                <a:cubicBezTo>
                  <a:pt x="162" y="272"/>
                  <a:pt x="164" y="272"/>
                  <a:pt x="165" y="270"/>
                </a:cubicBezTo>
                <a:cubicBezTo>
                  <a:pt x="168" y="268"/>
                  <a:pt x="168" y="263"/>
                  <a:pt x="165" y="260"/>
                </a:cubicBezTo>
                <a:cubicBezTo>
                  <a:pt x="129" y="224"/>
                  <a:pt x="129" y="224"/>
                  <a:pt x="129" y="224"/>
                </a:cubicBezTo>
                <a:cubicBezTo>
                  <a:pt x="181" y="217"/>
                  <a:pt x="222" y="173"/>
                  <a:pt x="225" y="120"/>
                </a:cubicBezTo>
                <a:cubicBezTo>
                  <a:pt x="326" y="120"/>
                  <a:pt x="326" y="120"/>
                  <a:pt x="326" y="120"/>
                </a:cubicBezTo>
                <a:cubicBezTo>
                  <a:pt x="290" y="155"/>
                  <a:pt x="290" y="155"/>
                  <a:pt x="290" y="155"/>
                </a:cubicBezTo>
                <a:cubicBezTo>
                  <a:pt x="288" y="158"/>
                  <a:pt x="288" y="162"/>
                  <a:pt x="290" y="165"/>
                </a:cubicBezTo>
                <a:cubicBezTo>
                  <a:pt x="292" y="166"/>
                  <a:pt x="293" y="167"/>
                  <a:pt x="295" y="167"/>
                </a:cubicBezTo>
                <a:cubicBezTo>
                  <a:pt x="297" y="167"/>
                  <a:pt x="299" y="166"/>
                  <a:pt x="300" y="165"/>
                </a:cubicBezTo>
                <a:cubicBezTo>
                  <a:pt x="343" y="122"/>
                  <a:pt x="343" y="122"/>
                  <a:pt x="343" y="122"/>
                </a:cubicBezTo>
                <a:cubicBezTo>
                  <a:pt x="438" y="217"/>
                  <a:pt x="438" y="217"/>
                  <a:pt x="438" y="217"/>
                </a:cubicBezTo>
                <a:cubicBezTo>
                  <a:pt x="438" y="323"/>
                  <a:pt x="438" y="323"/>
                  <a:pt x="438" y="323"/>
                </a:cubicBezTo>
                <a:cubicBezTo>
                  <a:pt x="403" y="288"/>
                  <a:pt x="403" y="288"/>
                  <a:pt x="403" y="288"/>
                </a:cubicBezTo>
                <a:cubicBezTo>
                  <a:pt x="400" y="285"/>
                  <a:pt x="396" y="285"/>
                  <a:pt x="393" y="288"/>
                </a:cubicBezTo>
                <a:cubicBezTo>
                  <a:pt x="390" y="291"/>
                  <a:pt x="390" y="295"/>
                  <a:pt x="393" y="298"/>
                </a:cubicBezTo>
                <a:cubicBezTo>
                  <a:pt x="430" y="335"/>
                  <a:pt x="430" y="335"/>
                  <a:pt x="430" y="335"/>
                </a:cubicBezTo>
                <a:cubicBezTo>
                  <a:pt x="375" y="342"/>
                  <a:pt x="333" y="389"/>
                  <a:pt x="333" y="446"/>
                </a:cubicBezTo>
                <a:cubicBezTo>
                  <a:pt x="333" y="508"/>
                  <a:pt x="383" y="559"/>
                  <a:pt x="445" y="559"/>
                </a:cubicBezTo>
                <a:cubicBezTo>
                  <a:pt x="508" y="559"/>
                  <a:pt x="558" y="508"/>
                  <a:pt x="558" y="446"/>
                </a:cubicBezTo>
                <a:cubicBezTo>
                  <a:pt x="558" y="389"/>
                  <a:pt x="516" y="342"/>
                  <a:pt x="461" y="335"/>
                </a:cubicBezTo>
                <a:close/>
                <a:moveTo>
                  <a:pt x="212" y="545"/>
                </a:moveTo>
                <a:cubicBezTo>
                  <a:pt x="14" y="545"/>
                  <a:pt x="14" y="545"/>
                  <a:pt x="14" y="545"/>
                </a:cubicBezTo>
                <a:cubicBezTo>
                  <a:pt x="14" y="348"/>
                  <a:pt x="14" y="348"/>
                  <a:pt x="14" y="348"/>
                </a:cubicBezTo>
                <a:cubicBezTo>
                  <a:pt x="212" y="348"/>
                  <a:pt x="212" y="348"/>
                  <a:pt x="212" y="348"/>
                </a:cubicBezTo>
                <a:lnTo>
                  <a:pt x="212" y="545"/>
                </a:lnTo>
                <a:close/>
                <a:moveTo>
                  <a:pt x="116" y="211"/>
                </a:moveTo>
                <a:cubicBezTo>
                  <a:pt x="115" y="211"/>
                  <a:pt x="114" y="211"/>
                  <a:pt x="113" y="211"/>
                </a:cubicBezTo>
                <a:cubicBezTo>
                  <a:pt x="112" y="211"/>
                  <a:pt x="111" y="211"/>
                  <a:pt x="110" y="211"/>
                </a:cubicBezTo>
                <a:cubicBezTo>
                  <a:pt x="57" y="210"/>
                  <a:pt x="14" y="166"/>
                  <a:pt x="14" y="113"/>
                </a:cubicBezTo>
                <a:cubicBezTo>
                  <a:pt x="14" y="58"/>
                  <a:pt x="58" y="14"/>
                  <a:pt x="113" y="14"/>
                </a:cubicBezTo>
                <a:cubicBezTo>
                  <a:pt x="167" y="14"/>
                  <a:pt x="212" y="58"/>
                  <a:pt x="212" y="113"/>
                </a:cubicBezTo>
                <a:cubicBezTo>
                  <a:pt x="212" y="166"/>
                  <a:pt x="169" y="210"/>
                  <a:pt x="116" y="211"/>
                </a:cubicBezTo>
                <a:close/>
                <a:moveTo>
                  <a:pt x="445" y="21"/>
                </a:moveTo>
                <a:cubicBezTo>
                  <a:pt x="537" y="113"/>
                  <a:pt x="537" y="113"/>
                  <a:pt x="537" y="113"/>
                </a:cubicBezTo>
                <a:cubicBezTo>
                  <a:pt x="445" y="204"/>
                  <a:pt x="445" y="204"/>
                  <a:pt x="445" y="204"/>
                </a:cubicBezTo>
                <a:cubicBezTo>
                  <a:pt x="354" y="113"/>
                  <a:pt x="354" y="113"/>
                  <a:pt x="354" y="113"/>
                </a:cubicBezTo>
                <a:lnTo>
                  <a:pt x="445" y="21"/>
                </a:lnTo>
                <a:close/>
                <a:moveTo>
                  <a:pt x="445" y="545"/>
                </a:moveTo>
                <a:cubicBezTo>
                  <a:pt x="391" y="545"/>
                  <a:pt x="347" y="501"/>
                  <a:pt x="347" y="446"/>
                </a:cubicBezTo>
                <a:cubicBezTo>
                  <a:pt x="347" y="392"/>
                  <a:pt x="391" y="348"/>
                  <a:pt x="445" y="348"/>
                </a:cubicBezTo>
                <a:cubicBezTo>
                  <a:pt x="500" y="348"/>
                  <a:pt x="544" y="392"/>
                  <a:pt x="544" y="446"/>
                </a:cubicBezTo>
                <a:cubicBezTo>
                  <a:pt x="544" y="501"/>
                  <a:pt x="500" y="545"/>
                  <a:pt x="445" y="54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DCED89-ADE0-4376-9B85-A83A74464FA0}"/>
              </a:ext>
            </a:extLst>
          </p:cNvPr>
          <p:cNvSpPr txBox="1"/>
          <p:nvPr/>
        </p:nvSpPr>
        <p:spPr>
          <a:xfrm>
            <a:off x="1612041" y="1392070"/>
            <a:ext cx="68375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>
                <a:solidFill>
                  <a:srgbClr val="1A4E66"/>
                </a:solidFill>
                <a:latin typeface="Calibri Light" panose="020F0302020204030204" pitchFamily="34" charset="0"/>
              </a:rPr>
              <a:t>Квалитативни приказ утицаја радова при реконструкцији цевовода на социјалне аспекте</a:t>
            </a:r>
          </a:p>
        </p:txBody>
      </p:sp>
      <p:sp>
        <p:nvSpPr>
          <p:cNvPr id="13" name="Flowchart: Connector 12">
            <a:extLst>
              <a:ext uri="{FF2B5EF4-FFF2-40B4-BE49-F238E27FC236}">
                <a16:creationId xmlns:a16="http://schemas.microsoft.com/office/drawing/2014/main" id="{FBECEA9F-2EF8-4E12-996A-B1315FCF8B97}"/>
              </a:ext>
            </a:extLst>
          </p:cNvPr>
          <p:cNvSpPr/>
          <p:nvPr/>
        </p:nvSpPr>
        <p:spPr>
          <a:xfrm>
            <a:off x="416256" y="1392070"/>
            <a:ext cx="1023582" cy="956793"/>
          </a:xfrm>
          <a:prstGeom prst="flowChartConnector">
            <a:avLst/>
          </a:prstGeom>
          <a:solidFill>
            <a:schemeClr val="bg2">
              <a:lumMod val="50000"/>
            </a:schemeClr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754B1E3-4622-4712-B9B6-28D9D61BCA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4870" y="2377606"/>
            <a:ext cx="6551611" cy="293207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9102002-89F7-4137-9427-E372A852D7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4870" y="5356704"/>
            <a:ext cx="6551611" cy="1442248"/>
          </a:xfrm>
          <a:prstGeom prst="rect">
            <a:avLst/>
          </a:prstGeom>
        </p:spPr>
      </p:pic>
      <p:sp>
        <p:nvSpPr>
          <p:cNvPr id="17" name="Freeform 151">
            <a:extLst>
              <a:ext uri="{FF2B5EF4-FFF2-40B4-BE49-F238E27FC236}">
                <a16:creationId xmlns:a16="http://schemas.microsoft.com/office/drawing/2014/main" id="{2FFF789C-FC22-43D4-BED4-B63B64D48783}"/>
              </a:ext>
            </a:extLst>
          </p:cNvPr>
          <p:cNvSpPr>
            <a:spLocks noEditPoints="1"/>
          </p:cNvSpPr>
          <p:nvPr/>
        </p:nvSpPr>
        <p:spPr bwMode="auto">
          <a:xfrm>
            <a:off x="725665" y="1550476"/>
            <a:ext cx="404764" cy="639980"/>
          </a:xfrm>
          <a:custGeom>
            <a:avLst/>
            <a:gdLst>
              <a:gd name="T0" fmla="*/ 341 w 392"/>
              <a:gd name="T1" fmla="*/ 317 h 620"/>
              <a:gd name="T2" fmla="*/ 175 w 392"/>
              <a:gd name="T3" fmla="*/ 482 h 620"/>
              <a:gd name="T4" fmla="*/ 170 w 392"/>
              <a:gd name="T5" fmla="*/ 479 h 620"/>
              <a:gd name="T6" fmla="*/ 76 w 392"/>
              <a:gd name="T7" fmla="*/ 374 h 620"/>
              <a:gd name="T8" fmla="*/ 175 w 392"/>
              <a:gd name="T9" fmla="*/ 462 h 620"/>
              <a:gd name="T10" fmla="*/ 341 w 392"/>
              <a:gd name="T11" fmla="*/ 305 h 620"/>
              <a:gd name="T12" fmla="*/ 392 w 392"/>
              <a:gd name="T13" fmla="*/ 585 h 620"/>
              <a:gd name="T14" fmla="*/ 35 w 392"/>
              <a:gd name="T15" fmla="*/ 620 h 620"/>
              <a:gd name="T16" fmla="*/ 0 w 392"/>
              <a:gd name="T17" fmla="*/ 143 h 620"/>
              <a:gd name="T18" fmla="*/ 70 w 392"/>
              <a:gd name="T19" fmla="*/ 107 h 620"/>
              <a:gd name="T20" fmla="*/ 105 w 392"/>
              <a:gd name="T21" fmla="*/ 66 h 620"/>
              <a:gd name="T22" fmla="*/ 133 w 392"/>
              <a:gd name="T23" fmla="*/ 48 h 620"/>
              <a:gd name="T24" fmla="*/ 218 w 392"/>
              <a:gd name="T25" fmla="*/ 0 h 620"/>
              <a:gd name="T26" fmla="*/ 267 w 392"/>
              <a:gd name="T27" fmla="*/ 66 h 620"/>
              <a:gd name="T28" fmla="*/ 330 w 392"/>
              <a:gd name="T29" fmla="*/ 102 h 620"/>
              <a:gd name="T30" fmla="*/ 357 w 392"/>
              <a:gd name="T31" fmla="*/ 107 h 620"/>
              <a:gd name="T32" fmla="*/ 86 w 392"/>
              <a:gd name="T33" fmla="*/ 129 h 620"/>
              <a:gd name="T34" fmla="*/ 294 w 392"/>
              <a:gd name="T35" fmla="*/ 148 h 620"/>
              <a:gd name="T36" fmla="*/ 314 w 392"/>
              <a:gd name="T37" fmla="*/ 102 h 620"/>
              <a:gd name="T38" fmla="*/ 259 w 392"/>
              <a:gd name="T39" fmla="*/ 82 h 620"/>
              <a:gd name="T40" fmla="*/ 251 w 392"/>
              <a:gd name="T41" fmla="*/ 48 h 620"/>
              <a:gd name="T42" fmla="*/ 182 w 392"/>
              <a:gd name="T43" fmla="*/ 16 h 620"/>
              <a:gd name="T44" fmla="*/ 149 w 392"/>
              <a:gd name="T45" fmla="*/ 74 h 620"/>
              <a:gd name="T46" fmla="*/ 105 w 392"/>
              <a:gd name="T47" fmla="*/ 82 h 620"/>
              <a:gd name="T48" fmla="*/ 86 w 392"/>
              <a:gd name="T49" fmla="*/ 129 h 620"/>
              <a:gd name="T50" fmla="*/ 357 w 392"/>
              <a:gd name="T51" fmla="*/ 123 h 620"/>
              <a:gd name="T52" fmla="*/ 330 w 392"/>
              <a:gd name="T53" fmla="*/ 129 h 620"/>
              <a:gd name="T54" fmla="*/ 105 w 392"/>
              <a:gd name="T55" fmla="*/ 164 h 620"/>
              <a:gd name="T56" fmla="*/ 70 w 392"/>
              <a:gd name="T57" fmla="*/ 123 h 620"/>
              <a:gd name="T58" fmla="*/ 16 w 392"/>
              <a:gd name="T59" fmla="*/ 143 h 620"/>
              <a:gd name="T60" fmla="*/ 35 w 392"/>
              <a:gd name="T61" fmla="*/ 604 h 620"/>
              <a:gd name="T62" fmla="*/ 376 w 392"/>
              <a:gd name="T63" fmla="*/ 585 h 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2" h="620">
                <a:moveTo>
                  <a:pt x="341" y="305"/>
                </a:moveTo>
                <a:cubicBezTo>
                  <a:pt x="345" y="308"/>
                  <a:pt x="345" y="313"/>
                  <a:pt x="341" y="317"/>
                </a:cubicBezTo>
                <a:cubicBezTo>
                  <a:pt x="181" y="479"/>
                  <a:pt x="181" y="479"/>
                  <a:pt x="181" y="479"/>
                </a:cubicBezTo>
                <a:cubicBezTo>
                  <a:pt x="180" y="481"/>
                  <a:pt x="178" y="482"/>
                  <a:pt x="175" y="482"/>
                </a:cubicBezTo>
                <a:cubicBezTo>
                  <a:pt x="175" y="482"/>
                  <a:pt x="175" y="482"/>
                  <a:pt x="175" y="482"/>
                </a:cubicBezTo>
                <a:cubicBezTo>
                  <a:pt x="173" y="482"/>
                  <a:pt x="171" y="481"/>
                  <a:pt x="170" y="479"/>
                </a:cubicBezTo>
                <a:cubicBezTo>
                  <a:pt x="76" y="385"/>
                  <a:pt x="76" y="385"/>
                  <a:pt x="76" y="385"/>
                </a:cubicBezTo>
                <a:cubicBezTo>
                  <a:pt x="73" y="382"/>
                  <a:pt x="73" y="377"/>
                  <a:pt x="76" y="374"/>
                </a:cubicBezTo>
                <a:cubicBezTo>
                  <a:pt x="79" y="371"/>
                  <a:pt x="84" y="371"/>
                  <a:pt x="87" y="374"/>
                </a:cubicBezTo>
                <a:cubicBezTo>
                  <a:pt x="175" y="462"/>
                  <a:pt x="175" y="462"/>
                  <a:pt x="175" y="462"/>
                </a:cubicBezTo>
                <a:cubicBezTo>
                  <a:pt x="330" y="305"/>
                  <a:pt x="330" y="305"/>
                  <a:pt x="330" y="305"/>
                </a:cubicBezTo>
                <a:cubicBezTo>
                  <a:pt x="333" y="302"/>
                  <a:pt x="338" y="302"/>
                  <a:pt x="341" y="305"/>
                </a:cubicBezTo>
                <a:close/>
                <a:moveTo>
                  <a:pt x="392" y="143"/>
                </a:moveTo>
                <a:cubicBezTo>
                  <a:pt x="392" y="585"/>
                  <a:pt x="392" y="585"/>
                  <a:pt x="392" y="585"/>
                </a:cubicBezTo>
                <a:cubicBezTo>
                  <a:pt x="392" y="604"/>
                  <a:pt x="376" y="620"/>
                  <a:pt x="357" y="620"/>
                </a:cubicBezTo>
                <a:cubicBezTo>
                  <a:pt x="35" y="620"/>
                  <a:pt x="35" y="620"/>
                  <a:pt x="35" y="620"/>
                </a:cubicBezTo>
                <a:cubicBezTo>
                  <a:pt x="16" y="620"/>
                  <a:pt x="0" y="604"/>
                  <a:pt x="0" y="585"/>
                </a:cubicBezTo>
                <a:cubicBezTo>
                  <a:pt x="0" y="143"/>
                  <a:pt x="0" y="143"/>
                  <a:pt x="0" y="143"/>
                </a:cubicBezTo>
                <a:cubicBezTo>
                  <a:pt x="0" y="123"/>
                  <a:pt x="16" y="107"/>
                  <a:pt x="35" y="107"/>
                </a:cubicBezTo>
                <a:cubicBezTo>
                  <a:pt x="70" y="107"/>
                  <a:pt x="70" y="107"/>
                  <a:pt x="70" y="107"/>
                </a:cubicBezTo>
                <a:cubicBezTo>
                  <a:pt x="70" y="102"/>
                  <a:pt x="70" y="102"/>
                  <a:pt x="70" y="102"/>
                </a:cubicBezTo>
                <a:cubicBezTo>
                  <a:pt x="70" y="82"/>
                  <a:pt x="86" y="66"/>
                  <a:pt x="105" y="66"/>
                </a:cubicBezTo>
                <a:cubicBezTo>
                  <a:pt x="133" y="66"/>
                  <a:pt x="133" y="66"/>
                  <a:pt x="133" y="66"/>
                </a:cubicBezTo>
                <a:cubicBezTo>
                  <a:pt x="133" y="48"/>
                  <a:pt x="133" y="48"/>
                  <a:pt x="133" y="48"/>
                </a:cubicBezTo>
                <a:cubicBezTo>
                  <a:pt x="133" y="22"/>
                  <a:pt x="155" y="0"/>
                  <a:pt x="182" y="0"/>
                </a:cubicBezTo>
                <a:cubicBezTo>
                  <a:pt x="218" y="0"/>
                  <a:pt x="218" y="0"/>
                  <a:pt x="218" y="0"/>
                </a:cubicBezTo>
                <a:cubicBezTo>
                  <a:pt x="245" y="0"/>
                  <a:pt x="267" y="22"/>
                  <a:pt x="267" y="48"/>
                </a:cubicBezTo>
                <a:cubicBezTo>
                  <a:pt x="267" y="66"/>
                  <a:pt x="267" y="66"/>
                  <a:pt x="267" y="66"/>
                </a:cubicBezTo>
                <a:cubicBezTo>
                  <a:pt x="294" y="66"/>
                  <a:pt x="294" y="66"/>
                  <a:pt x="294" y="66"/>
                </a:cubicBezTo>
                <a:cubicBezTo>
                  <a:pt x="314" y="66"/>
                  <a:pt x="330" y="82"/>
                  <a:pt x="330" y="102"/>
                </a:cubicBezTo>
                <a:cubicBezTo>
                  <a:pt x="330" y="107"/>
                  <a:pt x="330" y="107"/>
                  <a:pt x="330" y="107"/>
                </a:cubicBezTo>
                <a:cubicBezTo>
                  <a:pt x="357" y="107"/>
                  <a:pt x="357" y="107"/>
                  <a:pt x="357" y="107"/>
                </a:cubicBezTo>
                <a:cubicBezTo>
                  <a:pt x="376" y="107"/>
                  <a:pt x="392" y="123"/>
                  <a:pt x="392" y="143"/>
                </a:cubicBezTo>
                <a:close/>
                <a:moveTo>
                  <a:pt x="86" y="129"/>
                </a:moveTo>
                <a:cubicBezTo>
                  <a:pt x="86" y="139"/>
                  <a:pt x="95" y="148"/>
                  <a:pt x="105" y="148"/>
                </a:cubicBezTo>
                <a:cubicBezTo>
                  <a:pt x="294" y="148"/>
                  <a:pt x="294" y="148"/>
                  <a:pt x="294" y="148"/>
                </a:cubicBezTo>
                <a:cubicBezTo>
                  <a:pt x="305" y="148"/>
                  <a:pt x="314" y="139"/>
                  <a:pt x="314" y="129"/>
                </a:cubicBezTo>
                <a:cubicBezTo>
                  <a:pt x="314" y="102"/>
                  <a:pt x="314" y="102"/>
                  <a:pt x="314" y="102"/>
                </a:cubicBezTo>
                <a:cubicBezTo>
                  <a:pt x="314" y="91"/>
                  <a:pt x="305" y="82"/>
                  <a:pt x="294" y="82"/>
                </a:cubicBezTo>
                <a:cubicBezTo>
                  <a:pt x="259" y="82"/>
                  <a:pt x="259" y="82"/>
                  <a:pt x="259" y="82"/>
                </a:cubicBezTo>
                <a:cubicBezTo>
                  <a:pt x="254" y="82"/>
                  <a:pt x="251" y="79"/>
                  <a:pt x="251" y="74"/>
                </a:cubicBezTo>
                <a:cubicBezTo>
                  <a:pt x="251" y="48"/>
                  <a:pt x="251" y="48"/>
                  <a:pt x="251" y="48"/>
                </a:cubicBezTo>
                <a:cubicBezTo>
                  <a:pt x="251" y="30"/>
                  <a:pt x="236" y="16"/>
                  <a:pt x="218" y="16"/>
                </a:cubicBezTo>
                <a:cubicBezTo>
                  <a:pt x="182" y="16"/>
                  <a:pt x="182" y="16"/>
                  <a:pt x="182" y="16"/>
                </a:cubicBezTo>
                <a:cubicBezTo>
                  <a:pt x="164" y="16"/>
                  <a:pt x="149" y="30"/>
                  <a:pt x="149" y="48"/>
                </a:cubicBezTo>
                <a:cubicBezTo>
                  <a:pt x="149" y="74"/>
                  <a:pt x="149" y="74"/>
                  <a:pt x="149" y="74"/>
                </a:cubicBezTo>
                <a:cubicBezTo>
                  <a:pt x="149" y="79"/>
                  <a:pt x="146" y="82"/>
                  <a:pt x="141" y="82"/>
                </a:cubicBezTo>
                <a:cubicBezTo>
                  <a:pt x="105" y="82"/>
                  <a:pt x="105" y="82"/>
                  <a:pt x="105" y="82"/>
                </a:cubicBezTo>
                <a:cubicBezTo>
                  <a:pt x="95" y="82"/>
                  <a:pt x="86" y="91"/>
                  <a:pt x="86" y="102"/>
                </a:cubicBezTo>
                <a:lnTo>
                  <a:pt x="86" y="129"/>
                </a:lnTo>
                <a:close/>
                <a:moveTo>
                  <a:pt x="376" y="143"/>
                </a:moveTo>
                <a:cubicBezTo>
                  <a:pt x="376" y="132"/>
                  <a:pt x="368" y="123"/>
                  <a:pt x="357" y="123"/>
                </a:cubicBezTo>
                <a:cubicBezTo>
                  <a:pt x="330" y="123"/>
                  <a:pt x="330" y="123"/>
                  <a:pt x="330" y="123"/>
                </a:cubicBezTo>
                <a:cubicBezTo>
                  <a:pt x="330" y="129"/>
                  <a:pt x="330" y="129"/>
                  <a:pt x="330" y="129"/>
                </a:cubicBezTo>
                <a:cubicBezTo>
                  <a:pt x="330" y="148"/>
                  <a:pt x="314" y="164"/>
                  <a:pt x="294" y="164"/>
                </a:cubicBezTo>
                <a:cubicBezTo>
                  <a:pt x="105" y="164"/>
                  <a:pt x="105" y="164"/>
                  <a:pt x="105" y="164"/>
                </a:cubicBezTo>
                <a:cubicBezTo>
                  <a:pt x="86" y="164"/>
                  <a:pt x="70" y="148"/>
                  <a:pt x="70" y="129"/>
                </a:cubicBezTo>
                <a:cubicBezTo>
                  <a:pt x="70" y="123"/>
                  <a:pt x="70" y="123"/>
                  <a:pt x="70" y="123"/>
                </a:cubicBezTo>
                <a:cubicBezTo>
                  <a:pt x="35" y="123"/>
                  <a:pt x="35" y="123"/>
                  <a:pt x="35" y="123"/>
                </a:cubicBezTo>
                <a:cubicBezTo>
                  <a:pt x="24" y="123"/>
                  <a:pt x="16" y="132"/>
                  <a:pt x="16" y="143"/>
                </a:cubicBezTo>
                <a:cubicBezTo>
                  <a:pt x="16" y="585"/>
                  <a:pt x="16" y="585"/>
                  <a:pt x="16" y="585"/>
                </a:cubicBezTo>
                <a:cubicBezTo>
                  <a:pt x="16" y="596"/>
                  <a:pt x="24" y="604"/>
                  <a:pt x="35" y="604"/>
                </a:cubicBezTo>
                <a:cubicBezTo>
                  <a:pt x="357" y="604"/>
                  <a:pt x="357" y="604"/>
                  <a:pt x="357" y="604"/>
                </a:cubicBezTo>
                <a:cubicBezTo>
                  <a:pt x="368" y="604"/>
                  <a:pt x="376" y="596"/>
                  <a:pt x="376" y="585"/>
                </a:cubicBezTo>
                <a:lnTo>
                  <a:pt x="376" y="14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8196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41D913D-D292-4731-8557-1EE61E27AE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2520"/>
            <a:ext cx="10781731" cy="956793"/>
          </a:xfrm>
        </p:spPr>
        <p:txBody>
          <a:bodyPr>
            <a:noAutofit/>
          </a:bodyPr>
          <a:lstStyle/>
          <a:p>
            <a:pPr algn="ctr"/>
            <a:r>
              <a:rPr lang="sr-Cyrl-RS" sz="3600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ЗАКЉУЧАК</a:t>
            </a:r>
            <a:endParaRPr lang="en-GB" sz="3600" dirty="0">
              <a:solidFill>
                <a:schemeClr val="bg2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3659053-69BC-4CD2-ACDF-5103C7D2379E}"/>
              </a:ext>
            </a:extLst>
          </p:cNvPr>
          <p:cNvSpPr/>
          <p:nvPr/>
        </p:nvSpPr>
        <p:spPr>
          <a:xfrm>
            <a:off x="4897460" y="933594"/>
            <a:ext cx="1198540" cy="45719"/>
          </a:xfrm>
          <a:prstGeom prst="rect">
            <a:avLst/>
          </a:prstGeom>
          <a:solidFill>
            <a:srgbClr val="9595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128">
            <a:extLst>
              <a:ext uri="{FF2B5EF4-FFF2-40B4-BE49-F238E27FC236}">
                <a16:creationId xmlns:a16="http://schemas.microsoft.com/office/drawing/2014/main" id="{6B0DE58D-D65F-417A-8D63-5D49C30C51E3}"/>
              </a:ext>
            </a:extLst>
          </p:cNvPr>
          <p:cNvSpPr>
            <a:spLocks noEditPoints="1"/>
          </p:cNvSpPr>
          <p:nvPr/>
        </p:nvSpPr>
        <p:spPr bwMode="auto">
          <a:xfrm>
            <a:off x="698453" y="1584816"/>
            <a:ext cx="459188" cy="571302"/>
          </a:xfrm>
          <a:custGeom>
            <a:avLst/>
            <a:gdLst>
              <a:gd name="T0" fmla="*/ 438 w 445"/>
              <a:gd name="T1" fmla="*/ 57 h 553"/>
              <a:gd name="T2" fmla="*/ 388 w 445"/>
              <a:gd name="T3" fmla="*/ 57 h 553"/>
              <a:gd name="T4" fmla="*/ 388 w 445"/>
              <a:gd name="T5" fmla="*/ 7 h 553"/>
              <a:gd name="T6" fmla="*/ 381 w 445"/>
              <a:gd name="T7" fmla="*/ 0 h 553"/>
              <a:gd name="T8" fmla="*/ 7 w 445"/>
              <a:gd name="T9" fmla="*/ 0 h 553"/>
              <a:gd name="T10" fmla="*/ 0 w 445"/>
              <a:gd name="T11" fmla="*/ 7 h 553"/>
              <a:gd name="T12" fmla="*/ 0 w 445"/>
              <a:gd name="T13" fmla="*/ 489 h 553"/>
              <a:gd name="T14" fmla="*/ 7 w 445"/>
              <a:gd name="T15" fmla="*/ 496 h 553"/>
              <a:gd name="T16" fmla="*/ 57 w 445"/>
              <a:gd name="T17" fmla="*/ 496 h 553"/>
              <a:gd name="T18" fmla="*/ 57 w 445"/>
              <a:gd name="T19" fmla="*/ 546 h 553"/>
              <a:gd name="T20" fmla="*/ 64 w 445"/>
              <a:gd name="T21" fmla="*/ 553 h 553"/>
              <a:gd name="T22" fmla="*/ 438 w 445"/>
              <a:gd name="T23" fmla="*/ 553 h 553"/>
              <a:gd name="T24" fmla="*/ 445 w 445"/>
              <a:gd name="T25" fmla="*/ 546 h 553"/>
              <a:gd name="T26" fmla="*/ 445 w 445"/>
              <a:gd name="T27" fmla="*/ 64 h 553"/>
              <a:gd name="T28" fmla="*/ 438 w 445"/>
              <a:gd name="T29" fmla="*/ 57 h 553"/>
              <a:gd name="T30" fmla="*/ 14 w 445"/>
              <a:gd name="T31" fmla="*/ 14 h 553"/>
              <a:gd name="T32" fmla="*/ 374 w 445"/>
              <a:gd name="T33" fmla="*/ 14 h 553"/>
              <a:gd name="T34" fmla="*/ 374 w 445"/>
              <a:gd name="T35" fmla="*/ 482 h 553"/>
              <a:gd name="T36" fmla="*/ 14 w 445"/>
              <a:gd name="T37" fmla="*/ 482 h 553"/>
              <a:gd name="T38" fmla="*/ 14 w 445"/>
              <a:gd name="T39" fmla="*/ 14 h 553"/>
              <a:gd name="T40" fmla="*/ 431 w 445"/>
              <a:gd name="T41" fmla="*/ 539 h 553"/>
              <a:gd name="T42" fmla="*/ 71 w 445"/>
              <a:gd name="T43" fmla="*/ 539 h 553"/>
              <a:gd name="T44" fmla="*/ 71 w 445"/>
              <a:gd name="T45" fmla="*/ 496 h 553"/>
              <a:gd name="T46" fmla="*/ 381 w 445"/>
              <a:gd name="T47" fmla="*/ 496 h 553"/>
              <a:gd name="T48" fmla="*/ 388 w 445"/>
              <a:gd name="T49" fmla="*/ 489 h 553"/>
              <a:gd name="T50" fmla="*/ 388 w 445"/>
              <a:gd name="T51" fmla="*/ 71 h 553"/>
              <a:gd name="T52" fmla="*/ 431 w 445"/>
              <a:gd name="T53" fmla="*/ 71 h 553"/>
              <a:gd name="T54" fmla="*/ 431 w 445"/>
              <a:gd name="T55" fmla="*/ 539 h 553"/>
              <a:gd name="T56" fmla="*/ 75 w 445"/>
              <a:gd name="T57" fmla="*/ 335 h 553"/>
              <a:gd name="T58" fmla="*/ 75 w 445"/>
              <a:gd name="T59" fmla="*/ 325 h 553"/>
              <a:gd name="T60" fmla="*/ 145 w 445"/>
              <a:gd name="T61" fmla="*/ 256 h 553"/>
              <a:gd name="T62" fmla="*/ 155 w 445"/>
              <a:gd name="T63" fmla="*/ 256 h 553"/>
              <a:gd name="T64" fmla="*/ 194 w 445"/>
              <a:gd name="T65" fmla="*/ 295 h 553"/>
              <a:gd name="T66" fmla="*/ 288 w 445"/>
              <a:gd name="T67" fmla="*/ 201 h 553"/>
              <a:gd name="T68" fmla="*/ 210 w 445"/>
              <a:gd name="T69" fmla="*/ 201 h 553"/>
              <a:gd name="T70" fmla="*/ 203 w 445"/>
              <a:gd name="T71" fmla="*/ 194 h 553"/>
              <a:gd name="T72" fmla="*/ 210 w 445"/>
              <a:gd name="T73" fmla="*/ 187 h 553"/>
              <a:gd name="T74" fmla="*/ 304 w 445"/>
              <a:gd name="T75" fmla="*/ 187 h 553"/>
              <a:gd name="T76" fmla="*/ 310 w 445"/>
              <a:gd name="T77" fmla="*/ 189 h 553"/>
              <a:gd name="T78" fmla="*/ 310 w 445"/>
              <a:gd name="T79" fmla="*/ 189 h 553"/>
              <a:gd name="T80" fmla="*/ 311 w 445"/>
              <a:gd name="T81" fmla="*/ 196 h 553"/>
              <a:gd name="T82" fmla="*/ 311 w 445"/>
              <a:gd name="T83" fmla="*/ 288 h 553"/>
              <a:gd name="T84" fmla="*/ 304 w 445"/>
              <a:gd name="T85" fmla="*/ 295 h 553"/>
              <a:gd name="T86" fmla="*/ 297 w 445"/>
              <a:gd name="T87" fmla="*/ 288 h 553"/>
              <a:gd name="T88" fmla="*/ 297 w 445"/>
              <a:gd name="T89" fmla="*/ 211 h 553"/>
              <a:gd name="T90" fmla="*/ 199 w 445"/>
              <a:gd name="T91" fmla="*/ 310 h 553"/>
              <a:gd name="T92" fmla="*/ 189 w 445"/>
              <a:gd name="T93" fmla="*/ 310 h 553"/>
              <a:gd name="T94" fmla="*/ 150 w 445"/>
              <a:gd name="T95" fmla="*/ 271 h 553"/>
              <a:gd name="T96" fmla="*/ 85 w 445"/>
              <a:gd name="T97" fmla="*/ 335 h 553"/>
              <a:gd name="T98" fmla="*/ 80 w 445"/>
              <a:gd name="T99" fmla="*/ 337 h 553"/>
              <a:gd name="T100" fmla="*/ 75 w 445"/>
              <a:gd name="T101" fmla="*/ 335 h 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45" h="553">
                <a:moveTo>
                  <a:pt x="438" y="57"/>
                </a:moveTo>
                <a:cubicBezTo>
                  <a:pt x="388" y="57"/>
                  <a:pt x="388" y="57"/>
                  <a:pt x="388" y="57"/>
                </a:cubicBezTo>
                <a:cubicBezTo>
                  <a:pt x="388" y="7"/>
                  <a:pt x="388" y="7"/>
                  <a:pt x="388" y="7"/>
                </a:cubicBezTo>
                <a:cubicBezTo>
                  <a:pt x="388" y="3"/>
                  <a:pt x="385" y="0"/>
                  <a:pt x="381" y="0"/>
                </a:cubicBez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489"/>
                  <a:pt x="0" y="489"/>
                  <a:pt x="0" y="489"/>
                </a:cubicBezTo>
                <a:cubicBezTo>
                  <a:pt x="0" y="493"/>
                  <a:pt x="3" y="496"/>
                  <a:pt x="7" y="496"/>
                </a:cubicBezTo>
                <a:cubicBezTo>
                  <a:pt x="57" y="496"/>
                  <a:pt x="57" y="496"/>
                  <a:pt x="57" y="496"/>
                </a:cubicBezTo>
                <a:cubicBezTo>
                  <a:pt x="57" y="546"/>
                  <a:pt x="57" y="546"/>
                  <a:pt x="57" y="546"/>
                </a:cubicBezTo>
                <a:cubicBezTo>
                  <a:pt x="57" y="550"/>
                  <a:pt x="60" y="553"/>
                  <a:pt x="64" y="553"/>
                </a:cubicBezTo>
                <a:cubicBezTo>
                  <a:pt x="438" y="553"/>
                  <a:pt x="438" y="553"/>
                  <a:pt x="438" y="553"/>
                </a:cubicBezTo>
                <a:cubicBezTo>
                  <a:pt x="442" y="553"/>
                  <a:pt x="445" y="550"/>
                  <a:pt x="445" y="546"/>
                </a:cubicBezTo>
                <a:cubicBezTo>
                  <a:pt x="445" y="64"/>
                  <a:pt x="445" y="64"/>
                  <a:pt x="445" y="64"/>
                </a:cubicBezTo>
                <a:cubicBezTo>
                  <a:pt x="445" y="60"/>
                  <a:pt x="442" y="57"/>
                  <a:pt x="438" y="57"/>
                </a:cubicBezTo>
                <a:close/>
                <a:moveTo>
                  <a:pt x="14" y="14"/>
                </a:moveTo>
                <a:cubicBezTo>
                  <a:pt x="374" y="14"/>
                  <a:pt x="374" y="14"/>
                  <a:pt x="374" y="14"/>
                </a:cubicBezTo>
                <a:cubicBezTo>
                  <a:pt x="374" y="482"/>
                  <a:pt x="374" y="482"/>
                  <a:pt x="374" y="482"/>
                </a:cubicBezTo>
                <a:cubicBezTo>
                  <a:pt x="14" y="482"/>
                  <a:pt x="14" y="482"/>
                  <a:pt x="14" y="482"/>
                </a:cubicBezTo>
                <a:lnTo>
                  <a:pt x="14" y="14"/>
                </a:lnTo>
                <a:close/>
                <a:moveTo>
                  <a:pt x="431" y="539"/>
                </a:moveTo>
                <a:cubicBezTo>
                  <a:pt x="71" y="539"/>
                  <a:pt x="71" y="539"/>
                  <a:pt x="71" y="539"/>
                </a:cubicBezTo>
                <a:cubicBezTo>
                  <a:pt x="71" y="496"/>
                  <a:pt x="71" y="496"/>
                  <a:pt x="71" y="496"/>
                </a:cubicBezTo>
                <a:cubicBezTo>
                  <a:pt x="381" y="496"/>
                  <a:pt x="381" y="496"/>
                  <a:pt x="381" y="496"/>
                </a:cubicBezTo>
                <a:cubicBezTo>
                  <a:pt x="385" y="496"/>
                  <a:pt x="388" y="493"/>
                  <a:pt x="388" y="489"/>
                </a:cubicBezTo>
                <a:cubicBezTo>
                  <a:pt x="388" y="71"/>
                  <a:pt x="388" y="71"/>
                  <a:pt x="388" y="71"/>
                </a:cubicBezTo>
                <a:cubicBezTo>
                  <a:pt x="431" y="71"/>
                  <a:pt x="431" y="71"/>
                  <a:pt x="431" y="71"/>
                </a:cubicBezTo>
                <a:lnTo>
                  <a:pt x="431" y="539"/>
                </a:lnTo>
                <a:close/>
                <a:moveTo>
                  <a:pt x="75" y="335"/>
                </a:moveTo>
                <a:cubicBezTo>
                  <a:pt x="72" y="333"/>
                  <a:pt x="72" y="328"/>
                  <a:pt x="75" y="325"/>
                </a:cubicBezTo>
                <a:cubicBezTo>
                  <a:pt x="145" y="256"/>
                  <a:pt x="145" y="256"/>
                  <a:pt x="145" y="256"/>
                </a:cubicBezTo>
                <a:cubicBezTo>
                  <a:pt x="147" y="253"/>
                  <a:pt x="152" y="253"/>
                  <a:pt x="155" y="256"/>
                </a:cubicBezTo>
                <a:cubicBezTo>
                  <a:pt x="194" y="295"/>
                  <a:pt x="194" y="295"/>
                  <a:pt x="194" y="295"/>
                </a:cubicBezTo>
                <a:cubicBezTo>
                  <a:pt x="288" y="201"/>
                  <a:pt x="288" y="201"/>
                  <a:pt x="288" y="201"/>
                </a:cubicBezTo>
                <a:cubicBezTo>
                  <a:pt x="210" y="201"/>
                  <a:pt x="210" y="201"/>
                  <a:pt x="210" y="201"/>
                </a:cubicBezTo>
                <a:cubicBezTo>
                  <a:pt x="207" y="201"/>
                  <a:pt x="203" y="198"/>
                  <a:pt x="203" y="194"/>
                </a:cubicBezTo>
                <a:cubicBezTo>
                  <a:pt x="203" y="190"/>
                  <a:pt x="207" y="187"/>
                  <a:pt x="210" y="187"/>
                </a:cubicBezTo>
                <a:cubicBezTo>
                  <a:pt x="304" y="187"/>
                  <a:pt x="304" y="187"/>
                  <a:pt x="304" y="187"/>
                </a:cubicBezTo>
                <a:cubicBezTo>
                  <a:pt x="306" y="187"/>
                  <a:pt x="308" y="188"/>
                  <a:pt x="310" y="189"/>
                </a:cubicBezTo>
                <a:cubicBezTo>
                  <a:pt x="310" y="189"/>
                  <a:pt x="310" y="189"/>
                  <a:pt x="310" y="189"/>
                </a:cubicBezTo>
                <a:cubicBezTo>
                  <a:pt x="312" y="191"/>
                  <a:pt x="312" y="194"/>
                  <a:pt x="311" y="196"/>
                </a:cubicBezTo>
                <a:cubicBezTo>
                  <a:pt x="311" y="288"/>
                  <a:pt x="311" y="288"/>
                  <a:pt x="311" y="288"/>
                </a:cubicBezTo>
                <a:cubicBezTo>
                  <a:pt x="311" y="292"/>
                  <a:pt x="308" y="295"/>
                  <a:pt x="304" y="295"/>
                </a:cubicBezTo>
                <a:cubicBezTo>
                  <a:pt x="301" y="295"/>
                  <a:pt x="297" y="292"/>
                  <a:pt x="297" y="288"/>
                </a:cubicBezTo>
                <a:cubicBezTo>
                  <a:pt x="297" y="211"/>
                  <a:pt x="297" y="211"/>
                  <a:pt x="297" y="211"/>
                </a:cubicBezTo>
                <a:cubicBezTo>
                  <a:pt x="199" y="310"/>
                  <a:pt x="199" y="310"/>
                  <a:pt x="199" y="310"/>
                </a:cubicBezTo>
                <a:cubicBezTo>
                  <a:pt x="196" y="313"/>
                  <a:pt x="192" y="313"/>
                  <a:pt x="189" y="310"/>
                </a:cubicBezTo>
                <a:cubicBezTo>
                  <a:pt x="150" y="271"/>
                  <a:pt x="150" y="271"/>
                  <a:pt x="150" y="271"/>
                </a:cubicBezTo>
                <a:cubicBezTo>
                  <a:pt x="85" y="335"/>
                  <a:pt x="85" y="335"/>
                  <a:pt x="85" y="335"/>
                </a:cubicBezTo>
                <a:cubicBezTo>
                  <a:pt x="84" y="337"/>
                  <a:pt x="82" y="337"/>
                  <a:pt x="80" y="337"/>
                </a:cubicBezTo>
                <a:cubicBezTo>
                  <a:pt x="78" y="337"/>
                  <a:pt x="76" y="337"/>
                  <a:pt x="75" y="33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120">
            <a:extLst>
              <a:ext uri="{FF2B5EF4-FFF2-40B4-BE49-F238E27FC236}">
                <a16:creationId xmlns:a16="http://schemas.microsoft.com/office/drawing/2014/main" id="{C2C4D91B-810D-421F-B160-05BDAE79D080}"/>
              </a:ext>
            </a:extLst>
          </p:cNvPr>
          <p:cNvSpPr>
            <a:spLocks noEditPoints="1"/>
          </p:cNvSpPr>
          <p:nvPr/>
        </p:nvSpPr>
        <p:spPr bwMode="auto">
          <a:xfrm>
            <a:off x="627104" y="4168414"/>
            <a:ext cx="575505" cy="577265"/>
          </a:xfrm>
          <a:custGeom>
            <a:avLst/>
            <a:gdLst>
              <a:gd name="T0" fmla="*/ 498 w 558"/>
              <a:gd name="T1" fmla="*/ 298 h 559"/>
              <a:gd name="T2" fmla="*/ 488 w 558"/>
              <a:gd name="T3" fmla="*/ 288 h 559"/>
              <a:gd name="T4" fmla="*/ 452 w 558"/>
              <a:gd name="T5" fmla="*/ 217 h 559"/>
              <a:gd name="T6" fmla="*/ 554 w 558"/>
              <a:gd name="T7" fmla="*/ 113 h 559"/>
              <a:gd name="T8" fmla="*/ 450 w 558"/>
              <a:gd name="T9" fmla="*/ 6 h 559"/>
              <a:gd name="T10" fmla="*/ 343 w 558"/>
              <a:gd name="T11" fmla="*/ 103 h 559"/>
              <a:gd name="T12" fmla="*/ 290 w 558"/>
              <a:gd name="T13" fmla="*/ 61 h 559"/>
              <a:gd name="T14" fmla="*/ 326 w 558"/>
              <a:gd name="T15" fmla="*/ 106 h 559"/>
              <a:gd name="T16" fmla="*/ 113 w 558"/>
              <a:gd name="T17" fmla="*/ 0 h 559"/>
              <a:gd name="T18" fmla="*/ 97 w 558"/>
              <a:gd name="T19" fmla="*/ 224 h 559"/>
              <a:gd name="T20" fmla="*/ 61 w 558"/>
              <a:gd name="T21" fmla="*/ 270 h 559"/>
              <a:gd name="T22" fmla="*/ 106 w 558"/>
              <a:gd name="T23" fmla="*/ 235 h 559"/>
              <a:gd name="T24" fmla="*/ 7 w 558"/>
              <a:gd name="T25" fmla="*/ 334 h 559"/>
              <a:gd name="T26" fmla="*/ 0 w 558"/>
              <a:gd name="T27" fmla="*/ 552 h 559"/>
              <a:gd name="T28" fmla="*/ 219 w 558"/>
              <a:gd name="T29" fmla="*/ 559 h 559"/>
              <a:gd name="T30" fmla="*/ 226 w 558"/>
              <a:gd name="T31" fmla="*/ 341 h 559"/>
              <a:gd name="T32" fmla="*/ 120 w 558"/>
              <a:gd name="T33" fmla="*/ 334 h 559"/>
              <a:gd name="T34" fmla="*/ 155 w 558"/>
              <a:gd name="T35" fmla="*/ 270 h 559"/>
              <a:gd name="T36" fmla="*/ 165 w 558"/>
              <a:gd name="T37" fmla="*/ 270 h 559"/>
              <a:gd name="T38" fmla="*/ 129 w 558"/>
              <a:gd name="T39" fmla="*/ 224 h 559"/>
              <a:gd name="T40" fmla="*/ 326 w 558"/>
              <a:gd name="T41" fmla="*/ 120 h 559"/>
              <a:gd name="T42" fmla="*/ 290 w 558"/>
              <a:gd name="T43" fmla="*/ 165 h 559"/>
              <a:gd name="T44" fmla="*/ 300 w 558"/>
              <a:gd name="T45" fmla="*/ 165 h 559"/>
              <a:gd name="T46" fmla="*/ 438 w 558"/>
              <a:gd name="T47" fmla="*/ 217 h 559"/>
              <a:gd name="T48" fmla="*/ 403 w 558"/>
              <a:gd name="T49" fmla="*/ 288 h 559"/>
              <a:gd name="T50" fmla="*/ 393 w 558"/>
              <a:gd name="T51" fmla="*/ 298 h 559"/>
              <a:gd name="T52" fmla="*/ 333 w 558"/>
              <a:gd name="T53" fmla="*/ 446 h 559"/>
              <a:gd name="T54" fmla="*/ 558 w 558"/>
              <a:gd name="T55" fmla="*/ 446 h 559"/>
              <a:gd name="T56" fmla="*/ 212 w 558"/>
              <a:gd name="T57" fmla="*/ 545 h 559"/>
              <a:gd name="T58" fmla="*/ 14 w 558"/>
              <a:gd name="T59" fmla="*/ 348 h 559"/>
              <a:gd name="T60" fmla="*/ 212 w 558"/>
              <a:gd name="T61" fmla="*/ 545 h 559"/>
              <a:gd name="T62" fmla="*/ 113 w 558"/>
              <a:gd name="T63" fmla="*/ 211 h 559"/>
              <a:gd name="T64" fmla="*/ 14 w 558"/>
              <a:gd name="T65" fmla="*/ 113 h 559"/>
              <a:gd name="T66" fmla="*/ 212 w 558"/>
              <a:gd name="T67" fmla="*/ 113 h 559"/>
              <a:gd name="T68" fmla="*/ 445 w 558"/>
              <a:gd name="T69" fmla="*/ 21 h 559"/>
              <a:gd name="T70" fmla="*/ 445 w 558"/>
              <a:gd name="T71" fmla="*/ 204 h 559"/>
              <a:gd name="T72" fmla="*/ 445 w 558"/>
              <a:gd name="T73" fmla="*/ 21 h 559"/>
              <a:gd name="T74" fmla="*/ 347 w 558"/>
              <a:gd name="T75" fmla="*/ 446 h 559"/>
              <a:gd name="T76" fmla="*/ 544 w 558"/>
              <a:gd name="T77" fmla="*/ 446 h 5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58" h="559">
                <a:moveTo>
                  <a:pt x="461" y="335"/>
                </a:moveTo>
                <a:cubicBezTo>
                  <a:pt x="498" y="298"/>
                  <a:pt x="498" y="298"/>
                  <a:pt x="498" y="298"/>
                </a:cubicBezTo>
                <a:cubicBezTo>
                  <a:pt x="500" y="295"/>
                  <a:pt x="500" y="291"/>
                  <a:pt x="498" y="288"/>
                </a:cubicBezTo>
                <a:cubicBezTo>
                  <a:pt x="495" y="285"/>
                  <a:pt x="490" y="285"/>
                  <a:pt x="488" y="288"/>
                </a:cubicBezTo>
                <a:cubicBezTo>
                  <a:pt x="452" y="323"/>
                  <a:pt x="452" y="323"/>
                  <a:pt x="452" y="323"/>
                </a:cubicBezTo>
                <a:cubicBezTo>
                  <a:pt x="452" y="217"/>
                  <a:pt x="452" y="217"/>
                  <a:pt x="452" y="217"/>
                </a:cubicBezTo>
                <a:cubicBezTo>
                  <a:pt x="552" y="118"/>
                  <a:pt x="552" y="118"/>
                  <a:pt x="552" y="118"/>
                </a:cubicBezTo>
                <a:cubicBezTo>
                  <a:pt x="553" y="116"/>
                  <a:pt x="554" y="115"/>
                  <a:pt x="554" y="113"/>
                </a:cubicBezTo>
                <a:cubicBezTo>
                  <a:pt x="554" y="111"/>
                  <a:pt x="553" y="109"/>
                  <a:pt x="552" y="108"/>
                </a:cubicBezTo>
                <a:cubicBezTo>
                  <a:pt x="450" y="6"/>
                  <a:pt x="450" y="6"/>
                  <a:pt x="450" y="6"/>
                </a:cubicBezTo>
                <a:cubicBezTo>
                  <a:pt x="448" y="4"/>
                  <a:pt x="443" y="4"/>
                  <a:pt x="440" y="6"/>
                </a:cubicBezTo>
                <a:cubicBezTo>
                  <a:pt x="343" y="103"/>
                  <a:pt x="343" y="103"/>
                  <a:pt x="343" y="103"/>
                </a:cubicBezTo>
                <a:cubicBezTo>
                  <a:pt x="300" y="61"/>
                  <a:pt x="300" y="61"/>
                  <a:pt x="300" y="61"/>
                </a:cubicBezTo>
                <a:cubicBezTo>
                  <a:pt x="297" y="58"/>
                  <a:pt x="293" y="58"/>
                  <a:pt x="290" y="61"/>
                </a:cubicBezTo>
                <a:cubicBezTo>
                  <a:pt x="288" y="63"/>
                  <a:pt x="288" y="68"/>
                  <a:pt x="290" y="70"/>
                </a:cubicBezTo>
                <a:cubicBezTo>
                  <a:pt x="326" y="106"/>
                  <a:pt x="326" y="106"/>
                  <a:pt x="326" y="106"/>
                </a:cubicBezTo>
                <a:cubicBezTo>
                  <a:pt x="225" y="106"/>
                  <a:pt x="225" y="106"/>
                  <a:pt x="225" y="106"/>
                </a:cubicBezTo>
                <a:cubicBezTo>
                  <a:pt x="222" y="47"/>
                  <a:pt x="173" y="0"/>
                  <a:pt x="113" y="0"/>
                </a:cubicBezTo>
                <a:cubicBezTo>
                  <a:pt x="51" y="0"/>
                  <a:pt x="0" y="51"/>
                  <a:pt x="0" y="113"/>
                </a:cubicBezTo>
                <a:cubicBezTo>
                  <a:pt x="0" y="169"/>
                  <a:pt x="42" y="217"/>
                  <a:pt x="97" y="224"/>
                </a:cubicBezTo>
                <a:cubicBezTo>
                  <a:pt x="61" y="260"/>
                  <a:pt x="61" y="260"/>
                  <a:pt x="61" y="260"/>
                </a:cubicBezTo>
                <a:cubicBezTo>
                  <a:pt x="58" y="263"/>
                  <a:pt x="58" y="268"/>
                  <a:pt x="61" y="270"/>
                </a:cubicBezTo>
                <a:cubicBezTo>
                  <a:pt x="63" y="273"/>
                  <a:pt x="68" y="273"/>
                  <a:pt x="71" y="270"/>
                </a:cubicBezTo>
                <a:cubicBezTo>
                  <a:pt x="106" y="235"/>
                  <a:pt x="106" y="235"/>
                  <a:pt x="106" y="235"/>
                </a:cubicBezTo>
                <a:cubicBezTo>
                  <a:pt x="106" y="334"/>
                  <a:pt x="106" y="334"/>
                  <a:pt x="106" y="334"/>
                </a:cubicBezTo>
                <a:cubicBezTo>
                  <a:pt x="7" y="334"/>
                  <a:pt x="7" y="334"/>
                  <a:pt x="7" y="334"/>
                </a:cubicBezTo>
                <a:cubicBezTo>
                  <a:pt x="3" y="334"/>
                  <a:pt x="0" y="337"/>
                  <a:pt x="0" y="341"/>
                </a:cubicBezTo>
                <a:cubicBezTo>
                  <a:pt x="0" y="552"/>
                  <a:pt x="0" y="552"/>
                  <a:pt x="0" y="552"/>
                </a:cubicBezTo>
                <a:cubicBezTo>
                  <a:pt x="0" y="556"/>
                  <a:pt x="3" y="559"/>
                  <a:pt x="7" y="559"/>
                </a:cubicBezTo>
                <a:cubicBezTo>
                  <a:pt x="219" y="559"/>
                  <a:pt x="219" y="559"/>
                  <a:pt x="219" y="559"/>
                </a:cubicBezTo>
                <a:cubicBezTo>
                  <a:pt x="223" y="559"/>
                  <a:pt x="226" y="556"/>
                  <a:pt x="226" y="552"/>
                </a:cubicBezTo>
                <a:cubicBezTo>
                  <a:pt x="226" y="341"/>
                  <a:pt x="226" y="341"/>
                  <a:pt x="226" y="341"/>
                </a:cubicBezTo>
                <a:cubicBezTo>
                  <a:pt x="226" y="337"/>
                  <a:pt x="223" y="334"/>
                  <a:pt x="219" y="334"/>
                </a:cubicBezTo>
                <a:cubicBezTo>
                  <a:pt x="120" y="334"/>
                  <a:pt x="120" y="334"/>
                  <a:pt x="120" y="334"/>
                </a:cubicBezTo>
                <a:cubicBezTo>
                  <a:pt x="120" y="235"/>
                  <a:pt x="120" y="235"/>
                  <a:pt x="120" y="235"/>
                </a:cubicBezTo>
                <a:cubicBezTo>
                  <a:pt x="155" y="270"/>
                  <a:pt x="155" y="270"/>
                  <a:pt x="155" y="270"/>
                </a:cubicBezTo>
                <a:cubicBezTo>
                  <a:pt x="157" y="272"/>
                  <a:pt x="158" y="272"/>
                  <a:pt x="160" y="272"/>
                </a:cubicBezTo>
                <a:cubicBezTo>
                  <a:pt x="162" y="272"/>
                  <a:pt x="164" y="272"/>
                  <a:pt x="165" y="270"/>
                </a:cubicBezTo>
                <a:cubicBezTo>
                  <a:pt x="168" y="268"/>
                  <a:pt x="168" y="263"/>
                  <a:pt x="165" y="260"/>
                </a:cubicBezTo>
                <a:cubicBezTo>
                  <a:pt x="129" y="224"/>
                  <a:pt x="129" y="224"/>
                  <a:pt x="129" y="224"/>
                </a:cubicBezTo>
                <a:cubicBezTo>
                  <a:pt x="181" y="217"/>
                  <a:pt x="222" y="173"/>
                  <a:pt x="225" y="120"/>
                </a:cubicBezTo>
                <a:cubicBezTo>
                  <a:pt x="326" y="120"/>
                  <a:pt x="326" y="120"/>
                  <a:pt x="326" y="120"/>
                </a:cubicBezTo>
                <a:cubicBezTo>
                  <a:pt x="290" y="155"/>
                  <a:pt x="290" y="155"/>
                  <a:pt x="290" y="155"/>
                </a:cubicBezTo>
                <a:cubicBezTo>
                  <a:pt x="288" y="158"/>
                  <a:pt x="288" y="162"/>
                  <a:pt x="290" y="165"/>
                </a:cubicBezTo>
                <a:cubicBezTo>
                  <a:pt x="292" y="166"/>
                  <a:pt x="293" y="167"/>
                  <a:pt x="295" y="167"/>
                </a:cubicBezTo>
                <a:cubicBezTo>
                  <a:pt x="297" y="167"/>
                  <a:pt x="299" y="166"/>
                  <a:pt x="300" y="165"/>
                </a:cubicBezTo>
                <a:cubicBezTo>
                  <a:pt x="343" y="122"/>
                  <a:pt x="343" y="122"/>
                  <a:pt x="343" y="122"/>
                </a:cubicBezTo>
                <a:cubicBezTo>
                  <a:pt x="438" y="217"/>
                  <a:pt x="438" y="217"/>
                  <a:pt x="438" y="217"/>
                </a:cubicBezTo>
                <a:cubicBezTo>
                  <a:pt x="438" y="323"/>
                  <a:pt x="438" y="323"/>
                  <a:pt x="438" y="323"/>
                </a:cubicBezTo>
                <a:cubicBezTo>
                  <a:pt x="403" y="288"/>
                  <a:pt x="403" y="288"/>
                  <a:pt x="403" y="288"/>
                </a:cubicBezTo>
                <a:cubicBezTo>
                  <a:pt x="400" y="285"/>
                  <a:pt x="396" y="285"/>
                  <a:pt x="393" y="288"/>
                </a:cubicBezTo>
                <a:cubicBezTo>
                  <a:pt x="390" y="291"/>
                  <a:pt x="390" y="295"/>
                  <a:pt x="393" y="298"/>
                </a:cubicBezTo>
                <a:cubicBezTo>
                  <a:pt x="430" y="335"/>
                  <a:pt x="430" y="335"/>
                  <a:pt x="430" y="335"/>
                </a:cubicBezTo>
                <a:cubicBezTo>
                  <a:pt x="375" y="342"/>
                  <a:pt x="333" y="389"/>
                  <a:pt x="333" y="446"/>
                </a:cubicBezTo>
                <a:cubicBezTo>
                  <a:pt x="333" y="508"/>
                  <a:pt x="383" y="559"/>
                  <a:pt x="445" y="559"/>
                </a:cubicBezTo>
                <a:cubicBezTo>
                  <a:pt x="508" y="559"/>
                  <a:pt x="558" y="508"/>
                  <a:pt x="558" y="446"/>
                </a:cubicBezTo>
                <a:cubicBezTo>
                  <a:pt x="558" y="389"/>
                  <a:pt x="516" y="342"/>
                  <a:pt x="461" y="335"/>
                </a:cubicBezTo>
                <a:close/>
                <a:moveTo>
                  <a:pt x="212" y="545"/>
                </a:moveTo>
                <a:cubicBezTo>
                  <a:pt x="14" y="545"/>
                  <a:pt x="14" y="545"/>
                  <a:pt x="14" y="545"/>
                </a:cubicBezTo>
                <a:cubicBezTo>
                  <a:pt x="14" y="348"/>
                  <a:pt x="14" y="348"/>
                  <a:pt x="14" y="348"/>
                </a:cubicBezTo>
                <a:cubicBezTo>
                  <a:pt x="212" y="348"/>
                  <a:pt x="212" y="348"/>
                  <a:pt x="212" y="348"/>
                </a:cubicBezTo>
                <a:lnTo>
                  <a:pt x="212" y="545"/>
                </a:lnTo>
                <a:close/>
                <a:moveTo>
                  <a:pt x="116" y="211"/>
                </a:moveTo>
                <a:cubicBezTo>
                  <a:pt x="115" y="211"/>
                  <a:pt x="114" y="211"/>
                  <a:pt x="113" y="211"/>
                </a:cubicBezTo>
                <a:cubicBezTo>
                  <a:pt x="112" y="211"/>
                  <a:pt x="111" y="211"/>
                  <a:pt x="110" y="211"/>
                </a:cubicBezTo>
                <a:cubicBezTo>
                  <a:pt x="57" y="210"/>
                  <a:pt x="14" y="166"/>
                  <a:pt x="14" y="113"/>
                </a:cubicBezTo>
                <a:cubicBezTo>
                  <a:pt x="14" y="58"/>
                  <a:pt x="58" y="14"/>
                  <a:pt x="113" y="14"/>
                </a:cubicBezTo>
                <a:cubicBezTo>
                  <a:pt x="167" y="14"/>
                  <a:pt x="212" y="58"/>
                  <a:pt x="212" y="113"/>
                </a:cubicBezTo>
                <a:cubicBezTo>
                  <a:pt x="212" y="166"/>
                  <a:pt x="169" y="210"/>
                  <a:pt x="116" y="211"/>
                </a:cubicBezTo>
                <a:close/>
                <a:moveTo>
                  <a:pt x="445" y="21"/>
                </a:moveTo>
                <a:cubicBezTo>
                  <a:pt x="537" y="113"/>
                  <a:pt x="537" y="113"/>
                  <a:pt x="537" y="113"/>
                </a:cubicBezTo>
                <a:cubicBezTo>
                  <a:pt x="445" y="204"/>
                  <a:pt x="445" y="204"/>
                  <a:pt x="445" y="204"/>
                </a:cubicBezTo>
                <a:cubicBezTo>
                  <a:pt x="354" y="113"/>
                  <a:pt x="354" y="113"/>
                  <a:pt x="354" y="113"/>
                </a:cubicBezTo>
                <a:lnTo>
                  <a:pt x="445" y="21"/>
                </a:lnTo>
                <a:close/>
                <a:moveTo>
                  <a:pt x="445" y="545"/>
                </a:moveTo>
                <a:cubicBezTo>
                  <a:pt x="391" y="545"/>
                  <a:pt x="347" y="501"/>
                  <a:pt x="347" y="446"/>
                </a:cubicBezTo>
                <a:cubicBezTo>
                  <a:pt x="347" y="392"/>
                  <a:pt x="391" y="348"/>
                  <a:pt x="445" y="348"/>
                </a:cubicBezTo>
                <a:cubicBezTo>
                  <a:pt x="500" y="348"/>
                  <a:pt x="544" y="392"/>
                  <a:pt x="544" y="446"/>
                </a:cubicBezTo>
                <a:cubicBezTo>
                  <a:pt x="544" y="501"/>
                  <a:pt x="500" y="545"/>
                  <a:pt x="445" y="54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DCED89-ADE0-4376-9B85-A83A74464FA0}"/>
              </a:ext>
            </a:extLst>
          </p:cNvPr>
          <p:cNvSpPr txBox="1"/>
          <p:nvPr/>
        </p:nvSpPr>
        <p:spPr>
          <a:xfrm>
            <a:off x="1612041" y="1392070"/>
            <a:ext cx="68375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>
                <a:solidFill>
                  <a:srgbClr val="1A4E66"/>
                </a:solidFill>
                <a:latin typeface="Calibri Light" panose="020F0302020204030204" pitchFamily="34" charset="0"/>
              </a:rPr>
              <a:t>Сагледавање ефеката при одабиру одговарајуће методе санације</a:t>
            </a:r>
          </a:p>
        </p:txBody>
      </p:sp>
      <p:sp>
        <p:nvSpPr>
          <p:cNvPr id="13" name="Flowchart: Connector 12">
            <a:extLst>
              <a:ext uri="{FF2B5EF4-FFF2-40B4-BE49-F238E27FC236}">
                <a16:creationId xmlns:a16="http://schemas.microsoft.com/office/drawing/2014/main" id="{FBECEA9F-2EF8-4E12-996A-B1315FCF8B97}"/>
              </a:ext>
            </a:extLst>
          </p:cNvPr>
          <p:cNvSpPr/>
          <p:nvPr/>
        </p:nvSpPr>
        <p:spPr>
          <a:xfrm>
            <a:off x="416256" y="1392070"/>
            <a:ext cx="1023582" cy="956793"/>
          </a:xfrm>
          <a:prstGeom prst="flowChartConnector">
            <a:avLst/>
          </a:prstGeom>
          <a:solidFill>
            <a:srgbClr val="959595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14" name="Freeform 137">
            <a:extLst>
              <a:ext uri="{FF2B5EF4-FFF2-40B4-BE49-F238E27FC236}">
                <a16:creationId xmlns:a16="http://schemas.microsoft.com/office/drawing/2014/main" id="{06630DCB-29C0-4B59-B21F-C1868FA4419E}"/>
              </a:ext>
            </a:extLst>
          </p:cNvPr>
          <p:cNvSpPr>
            <a:spLocks noEditPoints="1"/>
          </p:cNvSpPr>
          <p:nvPr/>
        </p:nvSpPr>
        <p:spPr bwMode="auto">
          <a:xfrm>
            <a:off x="639961" y="1597011"/>
            <a:ext cx="594216" cy="546909"/>
          </a:xfrm>
          <a:custGeom>
            <a:avLst/>
            <a:gdLst>
              <a:gd name="T0" fmla="*/ 571 w 575"/>
              <a:gd name="T1" fmla="*/ 3 h 530"/>
              <a:gd name="T2" fmla="*/ 561 w 575"/>
              <a:gd name="T3" fmla="*/ 4 h 530"/>
              <a:gd name="T4" fmla="*/ 491 w 575"/>
              <a:gd name="T5" fmla="*/ 94 h 530"/>
              <a:gd name="T6" fmla="*/ 491 w 575"/>
              <a:gd name="T7" fmla="*/ 46 h 530"/>
              <a:gd name="T8" fmla="*/ 484 w 575"/>
              <a:gd name="T9" fmla="*/ 39 h 530"/>
              <a:gd name="T10" fmla="*/ 7 w 575"/>
              <a:gd name="T11" fmla="*/ 39 h 530"/>
              <a:gd name="T12" fmla="*/ 0 w 575"/>
              <a:gd name="T13" fmla="*/ 46 h 530"/>
              <a:gd name="T14" fmla="*/ 0 w 575"/>
              <a:gd name="T15" fmla="*/ 523 h 530"/>
              <a:gd name="T16" fmla="*/ 7 w 575"/>
              <a:gd name="T17" fmla="*/ 530 h 530"/>
              <a:gd name="T18" fmla="*/ 484 w 575"/>
              <a:gd name="T19" fmla="*/ 530 h 530"/>
              <a:gd name="T20" fmla="*/ 491 w 575"/>
              <a:gd name="T21" fmla="*/ 523 h 530"/>
              <a:gd name="T22" fmla="*/ 491 w 575"/>
              <a:gd name="T23" fmla="*/ 117 h 530"/>
              <a:gd name="T24" fmla="*/ 572 w 575"/>
              <a:gd name="T25" fmla="*/ 12 h 530"/>
              <a:gd name="T26" fmla="*/ 571 w 575"/>
              <a:gd name="T27" fmla="*/ 3 h 530"/>
              <a:gd name="T28" fmla="*/ 477 w 575"/>
              <a:gd name="T29" fmla="*/ 516 h 530"/>
              <a:gd name="T30" fmla="*/ 14 w 575"/>
              <a:gd name="T31" fmla="*/ 516 h 530"/>
              <a:gd name="T32" fmla="*/ 14 w 575"/>
              <a:gd name="T33" fmla="*/ 53 h 530"/>
              <a:gd name="T34" fmla="*/ 477 w 575"/>
              <a:gd name="T35" fmla="*/ 53 h 530"/>
              <a:gd name="T36" fmla="*/ 477 w 575"/>
              <a:gd name="T37" fmla="*/ 112 h 530"/>
              <a:gd name="T38" fmla="*/ 235 w 575"/>
              <a:gd name="T39" fmla="*/ 423 h 530"/>
              <a:gd name="T40" fmla="*/ 84 w 575"/>
              <a:gd name="T41" fmla="*/ 287 h 530"/>
              <a:gd name="T42" fmla="*/ 74 w 575"/>
              <a:gd name="T43" fmla="*/ 288 h 530"/>
              <a:gd name="T44" fmla="*/ 74 w 575"/>
              <a:gd name="T45" fmla="*/ 298 h 530"/>
              <a:gd name="T46" fmla="*/ 231 w 575"/>
              <a:gd name="T47" fmla="*/ 438 h 530"/>
              <a:gd name="T48" fmla="*/ 236 w 575"/>
              <a:gd name="T49" fmla="*/ 440 h 530"/>
              <a:gd name="T50" fmla="*/ 236 w 575"/>
              <a:gd name="T51" fmla="*/ 440 h 530"/>
              <a:gd name="T52" fmla="*/ 241 w 575"/>
              <a:gd name="T53" fmla="*/ 437 h 530"/>
              <a:gd name="T54" fmla="*/ 477 w 575"/>
              <a:gd name="T55" fmla="*/ 135 h 530"/>
              <a:gd name="T56" fmla="*/ 477 w 575"/>
              <a:gd name="T57" fmla="*/ 516 h 5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575" h="530">
                <a:moveTo>
                  <a:pt x="571" y="3"/>
                </a:moveTo>
                <a:cubicBezTo>
                  <a:pt x="568" y="0"/>
                  <a:pt x="564" y="1"/>
                  <a:pt x="561" y="4"/>
                </a:cubicBezTo>
                <a:cubicBezTo>
                  <a:pt x="491" y="94"/>
                  <a:pt x="491" y="94"/>
                  <a:pt x="491" y="94"/>
                </a:cubicBezTo>
                <a:cubicBezTo>
                  <a:pt x="491" y="46"/>
                  <a:pt x="491" y="46"/>
                  <a:pt x="491" y="46"/>
                </a:cubicBezTo>
                <a:cubicBezTo>
                  <a:pt x="491" y="42"/>
                  <a:pt x="488" y="39"/>
                  <a:pt x="484" y="39"/>
                </a:cubicBezTo>
                <a:cubicBezTo>
                  <a:pt x="7" y="39"/>
                  <a:pt x="7" y="39"/>
                  <a:pt x="7" y="39"/>
                </a:cubicBezTo>
                <a:cubicBezTo>
                  <a:pt x="3" y="39"/>
                  <a:pt x="0" y="42"/>
                  <a:pt x="0" y="46"/>
                </a:cubicBezTo>
                <a:cubicBezTo>
                  <a:pt x="0" y="523"/>
                  <a:pt x="0" y="523"/>
                  <a:pt x="0" y="523"/>
                </a:cubicBezTo>
                <a:cubicBezTo>
                  <a:pt x="0" y="527"/>
                  <a:pt x="3" y="530"/>
                  <a:pt x="7" y="530"/>
                </a:cubicBezTo>
                <a:cubicBezTo>
                  <a:pt x="484" y="530"/>
                  <a:pt x="484" y="530"/>
                  <a:pt x="484" y="530"/>
                </a:cubicBezTo>
                <a:cubicBezTo>
                  <a:pt x="488" y="530"/>
                  <a:pt x="491" y="527"/>
                  <a:pt x="491" y="523"/>
                </a:cubicBezTo>
                <a:cubicBezTo>
                  <a:pt x="491" y="117"/>
                  <a:pt x="491" y="117"/>
                  <a:pt x="491" y="117"/>
                </a:cubicBezTo>
                <a:cubicBezTo>
                  <a:pt x="572" y="12"/>
                  <a:pt x="572" y="12"/>
                  <a:pt x="572" y="12"/>
                </a:cubicBezTo>
                <a:cubicBezTo>
                  <a:pt x="575" y="9"/>
                  <a:pt x="574" y="5"/>
                  <a:pt x="571" y="3"/>
                </a:cubicBezTo>
                <a:close/>
                <a:moveTo>
                  <a:pt x="477" y="516"/>
                </a:moveTo>
                <a:cubicBezTo>
                  <a:pt x="14" y="516"/>
                  <a:pt x="14" y="516"/>
                  <a:pt x="14" y="516"/>
                </a:cubicBezTo>
                <a:cubicBezTo>
                  <a:pt x="14" y="53"/>
                  <a:pt x="14" y="53"/>
                  <a:pt x="14" y="53"/>
                </a:cubicBezTo>
                <a:cubicBezTo>
                  <a:pt x="477" y="53"/>
                  <a:pt x="477" y="53"/>
                  <a:pt x="477" y="53"/>
                </a:cubicBezTo>
                <a:cubicBezTo>
                  <a:pt x="477" y="112"/>
                  <a:pt x="477" y="112"/>
                  <a:pt x="477" y="112"/>
                </a:cubicBezTo>
                <a:cubicBezTo>
                  <a:pt x="235" y="423"/>
                  <a:pt x="235" y="423"/>
                  <a:pt x="235" y="423"/>
                </a:cubicBezTo>
                <a:cubicBezTo>
                  <a:pt x="84" y="287"/>
                  <a:pt x="84" y="287"/>
                  <a:pt x="84" y="287"/>
                </a:cubicBezTo>
                <a:cubicBezTo>
                  <a:pt x="81" y="285"/>
                  <a:pt x="76" y="285"/>
                  <a:pt x="74" y="288"/>
                </a:cubicBezTo>
                <a:cubicBezTo>
                  <a:pt x="71" y="291"/>
                  <a:pt x="72" y="295"/>
                  <a:pt x="74" y="298"/>
                </a:cubicBezTo>
                <a:cubicBezTo>
                  <a:pt x="231" y="438"/>
                  <a:pt x="231" y="438"/>
                  <a:pt x="231" y="438"/>
                </a:cubicBezTo>
                <a:cubicBezTo>
                  <a:pt x="232" y="439"/>
                  <a:pt x="234" y="440"/>
                  <a:pt x="236" y="440"/>
                </a:cubicBezTo>
                <a:cubicBezTo>
                  <a:pt x="236" y="440"/>
                  <a:pt x="236" y="440"/>
                  <a:pt x="236" y="440"/>
                </a:cubicBezTo>
                <a:cubicBezTo>
                  <a:pt x="238" y="440"/>
                  <a:pt x="240" y="439"/>
                  <a:pt x="241" y="437"/>
                </a:cubicBezTo>
                <a:cubicBezTo>
                  <a:pt x="477" y="135"/>
                  <a:pt x="477" y="135"/>
                  <a:pt x="477" y="135"/>
                </a:cubicBezTo>
                <a:lnTo>
                  <a:pt x="477" y="5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7B93415-AAF8-4071-B9BA-3BBCCF5F71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3809" y="2111266"/>
            <a:ext cx="6453992" cy="4691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3032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800">
        <p14:flythrough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D4BD8100-D080-45F2-B9D5-E0192E51731B}"/>
              </a:ext>
            </a:extLst>
          </p:cNvPr>
          <p:cNvSpPr>
            <a:spLocks/>
          </p:cNvSpPr>
          <p:nvPr/>
        </p:nvSpPr>
        <p:spPr bwMode="auto">
          <a:xfrm rot="12600000">
            <a:off x="-1279668" y="-853920"/>
            <a:ext cx="3865581" cy="7123657"/>
          </a:xfrm>
          <a:custGeom>
            <a:avLst/>
            <a:gdLst>
              <a:gd name="connsiteX0" fmla="*/ 1260070 w 3385888"/>
              <a:gd name="connsiteY0" fmla="*/ 6124346 h 6239658"/>
              <a:gd name="connsiteX1" fmla="*/ 840047 w 3385888"/>
              <a:gd name="connsiteY1" fmla="*/ 6239658 h 6239658"/>
              <a:gd name="connsiteX2" fmla="*/ 420023 w 3385888"/>
              <a:gd name="connsiteY2" fmla="*/ 6124346 h 6239658"/>
              <a:gd name="connsiteX3" fmla="*/ 0 w 3385888"/>
              <a:gd name="connsiteY3" fmla="*/ 5401027 h 6239658"/>
              <a:gd name="connsiteX4" fmla="*/ 0 w 3385888"/>
              <a:gd name="connsiteY4" fmla="*/ 788556 h 6239658"/>
              <a:gd name="connsiteX5" fmla="*/ 420023 w 3385888"/>
              <a:gd name="connsiteY5" fmla="*/ 65237 h 6239658"/>
              <a:gd name="connsiteX6" fmla="*/ 520722 w 3385888"/>
              <a:gd name="connsiteY6" fmla="*/ 13642 h 6239658"/>
              <a:gd name="connsiteX7" fmla="*/ 559364 w 3385888"/>
              <a:gd name="connsiteY7" fmla="*/ 0 h 6239658"/>
              <a:gd name="connsiteX8" fmla="*/ 3385888 w 3385888"/>
              <a:gd name="connsiteY8" fmla="*/ 4895683 h 6239658"/>
              <a:gd name="connsiteX9" fmla="*/ 3347606 w 3385888"/>
              <a:gd name="connsiteY9" fmla="*/ 4917809 h 6239658"/>
              <a:gd name="connsiteX10" fmla="*/ 1260070 w 3385888"/>
              <a:gd name="connsiteY10" fmla="*/ 6124346 h 6239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385888" h="6239658">
                <a:moveTo>
                  <a:pt x="1260070" y="6124346"/>
                </a:moveTo>
                <a:cubicBezTo>
                  <a:pt x="1134063" y="6197726"/>
                  <a:pt x="987055" y="6239658"/>
                  <a:pt x="840047" y="6239658"/>
                </a:cubicBezTo>
                <a:cubicBezTo>
                  <a:pt x="693039" y="6239658"/>
                  <a:pt x="546030" y="6197726"/>
                  <a:pt x="420023" y="6124346"/>
                </a:cubicBezTo>
                <a:cubicBezTo>
                  <a:pt x="157509" y="5977586"/>
                  <a:pt x="0" y="5705030"/>
                  <a:pt x="0" y="5401027"/>
                </a:cubicBezTo>
                <a:cubicBezTo>
                  <a:pt x="0" y="5401027"/>
                  <a:pt x="0" y="5401027"/>
                  <a:pt x="0" y="788556"/>
                </a:cubicBezTo>
                <a:cubicBezTo>
                  <a:pt x="0" y="484553"/>
                  <a:pt x="157509" y="211998"/>
                  <a:pt x="420023" y="65237"/>
                </a:cubicBezTo>
                <a:cubicBezTo>
                  <a:pt x="452838" y="45582"/>
                  <a:pt x="486472" y="28383"/>
                  <a:pt x="520722" y="13642"/>
                </a:cubicBezTo>
                <a:lnTo>
                  <a:pt x="559364" y="0"/>
                </a:lnTo>
                <a:lnTo>
                  <a:pt x="3385888" y="4895683"/>
                </a:lnTo>
                <a:lnTo>
                  <a:pt x="3347606" y="4917809"/>
                </a:lnTo>
                <a:cubicBezTo>
                  <a:pt x="2814854" y="5225725"/>
                  <a:pt x="2132931" y="5619857"/>
                  <a:pt x="1260070" y="6124346"/>
                </a:cubicBezTo>
                <a:close/>
              </a:path>
            </a:pathLst>
          </a:custGeom>
          <a:gradFill>
            <a:gsLst>
              <a:gs pos="12000">
                <a:schemeClr val="bg2">
                  <a:lumMod val="60000"/>
                  <a:lumOff val="40000"/>
                </a:schemeClr>
              </a:gs>
              <a:gs pos="2655">
                <a:schemeClr val="bg2">
                  <a:lumMod val="50000"/>
                </a:schemeClr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A1CD04C7-4B05-4F10-AFB3-81B2D04C4F99}"/>
              </a:ext>
            </a:extLst>
          </p:cNvPr>
          <p:cNvSpPr/>
          <p:nvPr/>
        </p:nvSpPr>
        <p:spPr>
          <a:xfrm>
            <a:off x="143755" y="1658068"/>
            <a:ext cx="3986560" cy="3960960"/>
          </a:xfrm>
          <a:prstGeom prst="donut">
            <a:avLst>
              <a:gd name="adj" fmla="val 3536"/>
            </a:avLst>
          </a:prstGeom>
          <a:gradFill flip="none" rotWithShape="1">
            <a:gsLst>
              <a:gs pos="12000">
                <a:schemeClr val="bg2">
                  <a:lumMod val="60000"/>
                  <a:lumOff val="40000"/>
                </a:schemeClr>
              </a:gs>
              <a:gs pos="2655">
                <a:schemeClr val="bg2">
                  <a:lumMod val="5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2E1349E-CB10-44C2-8A5D-E7CF0B365D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95423"/>
            <a:ext cx="5629275" cy="428625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9D405C3-E9F8-4D9A-883D-81F2AB58D207}"/>
              </a:ext>
            </a:extLst>
          </p:cNvPr>
          <p:cNvSpPr/>
          <p:nvPr/>
        </p:nvSpPr>
        <p:spPr>
          <a:xfrm>
            <a:off x="4097325" y="0"/>
            <a:ext cx="8153400" cy="6858000"/>
          </a:xfrm>
          <a:prstGeom prst="rect">
            <a:avLst/>
          </a:pr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GB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4B95A8F-0C3E-4722-8757-154CD1AECDD3}"/>
              </a:ext>
            </a:extLst>
          </p:cNvPr>
          <p:cNvSpPr/>
          <p:nvPr/>
        </p:nvSpPr>
        <p:spPr>
          <a:xfrm>
            <a:off x="5285098" y="1820713"/>
            <a:ext cx="6541814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r-Cyrl-RS" sz="8800" b="1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ХВАЛА НА ПАЖЊИ!</a:t>
            </a:r>
            <a:endParaRPr lang="en-GB" sz="8800" b="1" dirty="0">
              <a:solidFill>
                <a:schemeClr val="bg2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53C09F-73BB-4CBA-B7F0-8BC332C9B8A1}"/>
              </a:ext>
            </a:extLst>
          </p:cNvPr>
          <p:cNvSpPr/>
          <p:nvPr/>
        </p:nvSpPr>
        <p:spPr>
          <a:xfrm>
            <a:off x="8036445" y="4575761"/>
            <a:ext cx="1198540" cy="45719"/>
          </a:xfrm>
          <a:prstGeom prst="rect">
            <a:avLst/>
          </a:prstGeom>
          <a:solidFill>
            <a:srgbClr val="9595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4FA3270B-7C6C-4808-9288-70CF34A71EEC}"/>
              </a:ext>
            </a:extLst>
          </p:cNvPr>
          <p:cNvSpPr/>
          <p:nvPr/>
        </p:nvSpPr>
        <p:spPr>
          <a:xfrm>
            <a:off x="-916456" y="639104"/>
            <a:ext cx="6106982" cy="5998888"/>
          </a:xfrm>
          <a:prstGeom prst="donut">
            <a:avLst>
              <a:gd name="adj" fmla="val 18061"/>
            </a:avLst>
          </a:pr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4439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WOmU8VQd.gLDEoOnlgwg"/>
</p:tagLst>
</file>

<file path=ppt/theme/theme1.xml><?xml version="1.0" encoding="utf-8"?>
<a:theme xmlns:a="http://schemas.openxmlformats.org/drawingml/2006/main" name="Fun vacation presentation ^M^M">
  <a:themeElements>
    <a:clrScheme name="Custom 21">
      <a:dk1>
        <a:sysClr val="windowText" lastClr="000000"/>
      </a:dk1>
      <a:lt1>
        <a:sysClr val="window" lastClr="FFFFFF"/>
      </a:lt1>
      <a:dk2>
        <a:srgbClr val="0048B3"/>
      </a:dk2>
      <a:lt2>
        <a:srgbClr val="7C77B9"/>
      </a:lt2>
      <a:accent1>
        <a:srgbClr val="008EDC"/>
      </a:accent1>
      <a:accent2>
        <a:srgbClr val="7A0078"/>
      </a:accent2>
      <a:accent3>
        <a:srgbClr val="D30F64"/>
      </a:accent3>
      <a:accent4>
        <a:srgbClr val="006FC9"/>
      </a:accent4>
      <a:accent5>
        <a:srgbClr val="00FFFF"/>
      </a:accent5>
      <a:accent6>
        <a:srgbClr val="EEB902"/>
      </a:accent6>
      <a:hlink>
        <a:srgbClr val="D30F64"/>
      </a:hlink>
      <a:folHlink>
        <a:srgbClr val="D30F64"/>
      </a:folHlink>
    </a:clrScheme>
    <a:fontScheme name="Custom 7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12000">
              <a:schemeClr val="accent1"/>
            </a:gs>
            <a:gs pos="100000">
              <a:schemeClr val="accent3"/>
            </a:gs>
          </a:gsLst>
          <a:lin ang="0" scaled="1"/>
          <a:tileRect/>
        </a:gradFill>
        <a:ln w="12700" cap="flat">
          <a:noFill/>
          <a:prstDash val="solid"/>
          <a:miter/>
        </a:ln>
      </a:spPr>
      <a:bodyPr rtlCol="0" anchor="ctr"/>
      <a:lstStyle>
        <a:defPPr algn="l">
          <a:defRPr dirty="0"/>
        </a:defPPr>
      </a:lstStyle>
    </a:spDef>
  </a:objectDefaults>
  <a:extraClrSchemeLst/>
  <a:extLst>
    <a:ext uri="{05A4C25C-085E-4340-85A3-A5531E510DB2}">
      <thm15:themeFamily xmlns:thm15="http://schemas.microsoft.com/office/thememl/2012/main" name="NBPL_Fun_MO - v6" id="{A0D08BF4-A6B2-4810-A990-861B25D0A27E}" vid="{9CA1A813-01EE-4EED-9E0D-BBBA258A4E3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AD4E26E6149445BA240FC2DFE1FAC1" ma:contentTypeVersion="10" ma:contentTypeDescription="Create a new document." ma:contentTypeScope="" ma:versionID="cfd8d84d97f7bdb569f704492ded9aa1">
  <xsd:schema xmlns:xsd="http://www.w3.org/2001/XMLSchema" xmlns:xs="http://www.w3.org/2001/XMLSchema" xmlns:p="http://schemas.microsoft.com/office/2006/metadata/properties" xmlns:ns2="a1629bdf-d6d0-4168-9215-403ec7f659f7" xmlns:ns3="834a826a-f628-4f7d-8d5d-ba5e6503093a" targetNamespace="http://schemas.microsoft.com/office/2006/metadata/properties" ma:root="true" ma:fieldsID="fb7e7138475e9bb4cd2ce465a1b2e219" ns2:_="" ns3:_="">
    <xsd:import namespace="a1629bdf-d6d0-4168-9215-403ec7f659f7"/>
    <xsd:import namespace="834a826a-f628-4f7d-8d5d-ba5e6503093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629bdf-d6d0-4168-9215-403ec7f659f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4a826a-f628-4f7d-8d5d-ba5e6503093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DA3E594-1D22-4722-A044-60ECFEA2E86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5C4D1E3-B5D0-4538-B387-3978057A8F77}">
  <ds:schemaRefs>
    <ds:schemaRef ds:uri="834a826a-f628-4f7d-8d5d-ba5e6503093a"/>
    <ds:schemaRef ds:uri="a1629bdf-d6d0-4168-9215-403ec7f659f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63196E3-2678-4512-9E55-C4033265BC52}">
  <ds:schemaRefs>
    <ds:schemaRef ds:uri="834a826a-f628-4f7d-8d5d-ba5e6503093a"/>
    <ds:schemaRef ds:uri="a1629bdf-d6d0-4168-9215-403ec7f659f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un vacation presentation ++</Template>
  <TotalTime>67</TotalTime>
  <Words>70</Words>
  <Application>Microsoft Office PowerPoint</Application>
  <PresentationFormat>Widescreen</PresentationFormat>
  <Paragraphs>14</Paragraphs>
  <Slides>9</Slides>
  <Notes>1</Notes>
  <HiddenSlides>0</HiddenSlides>
  <MMClips>1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Calibri Light</vt:lpstr>
      <vt:lpstr>Century Gothic</vt:lpstr>
      <vt:lpstr>Fun vacation presentation ^M^M</vt:lpstr>
      <vt:lpstr>think-cell Slide</vt:lpstr>
      <vt:lpstr>УВОЂЕЊЕ САВРЕМЕ ТЕХНОЛОГИЈЕ У ПРОЦЕС ЗАМЕНЕ ЦЕВОВОДА</vt:lpstr>
      <vt:lpstr>КЛАСИЧНА МЕТОДА  VS САВРЕМЕНА</vt:lpstr>
      <vt:lpstr>ИЗВОЂЕЊЕ РАДОВА</vt:lpstr>
      <vt:lpstr>PowerPoint Presentation</vt:lpstr>
      <vt:lpstr>ПРИМЕР</vt:lpstr>
      <vt:lpstr>ЗАКЉУЧАК</vt:lpstr>
      <vt:lpstr>ЗАКЉУЧАК</vt:lpstr>
      <vt:lpstr>ЗАКЉУЧАК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Увођење савреме технологије у процес замене цевовода</dc:title>
  <dc:creator>Nevenka Bašić</dc:creator>
  <cp:lastModifiedBy>Nevenka Bašić</cp:lastModifiedBy>
  <cp:revision>24</cp:revision>
  <dcterms:created xsi:type="dcterms:W3CDTF">2019-12-08T17:46:23Z</dcterms:created>
  <dcterms:modified xsi:type="dcterms:W3CDTF">2019-12-11T19:0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AD4E26E6149445BA240FC2DFE1FAC1</vt:lpwstr>
  </property>
</Properties>
</file>